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sldIdLst>
    <p:sldId id="256" r:id="rId5"/>
    <p:sldId id="257" r:id="rId6"/>
    <p:sldId id="258" r:id="rId7"/>
    <p:sldId id="265" r:id="rId8"/>
    <p:sldId id="266" r:id="rId9"/>
    <p:sldId id="267" r:id="rId10"/>
    <p:sldId id="268" r:id="rId11"/>
    <p:sldId id="269" r:id="rId12"/>
    <p:sldId id="270" r:id="rId13"/>
    <p:sldId id="277" r:id="rId14"/>
    <p:sldId id="272" r:id="rId15"/>
    <p:sldId id="274" r:id="rId16"/>
    <p:sldId id="275" r:id="rId17"/>
    <p:sldId id="273" r:id="rId18"/>
    <p:sldId id="260"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10C273-2E50-4EF5-BCE8-3EA3BB5F92A4}" v="11" dt="2021-02-25T18:23:38.9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3"/>
    <p:restoredTop sz="73168" autoAdjust="0"/>
  </p:normalViewPr>
  <p:slideViewPr>
    <p:cSldViewPr snapToGrid="0" snapToObjects="1">
      <p:cViewPr varScale="1">
        <p:scale>
          <a:sx n="91" d="100"/>
          <a:sy n="91" d="100"/>
        </p:scale>
        <p:origin x="123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w Jenks" userId="4e7ebeef-0c7f-45b3-8ca6-ec73850d6894" providerId="ADAL" clId="{0D279F1B-BFC1-418D-85D1-CDBE6FB4EE8F}"/>
    <pc:docChg chg="undo custSel addSld delSld modSld">
      <pc:chgData name="Andrew Jenks" userId="4e7ebeef-0c7f-45b3-8ca6-ec73850d6894" providerId="ADAL" clId="{0D279F1B-BFC1-418D-85D1-CDBE6FB4EE8F}" dt="2021-02-24T16:04:32.240" v="12" actId="6549"/>
      <pc:docMkLst>
        <pc:docMk/>
      </pc:docMkLst>
      <pc:sldChg chg="modSp mod">
        <pc:chgData name="Andrew Jenks" userId="4e7ebeef-0c7f-45b3-8ca6-ec73850d6894" providerId="ADAL" clId="{0D279F1B-BFC1-418D-85D1-CDBE6FB4EE8F}" dt="2021-02-24T16:04:32.240" v="12" actId="6549"/>
        <pc:sldMkLst>
          <pc:docMk/>
          <pc:sldMk cId="1719412181" sldId="256"/>
        </pc:sldMkLst>
        <pc:spChg chg="mod">
          <ac:chgData name="Andrew Jenks" userId="4e7ebeef-0c7f-45b3-8ca6-ec73850d6894" providerId="ADAL" clId="{0D279F1B-BFC1-418D-85D1-CDBE6FB4EE8F}" dt="2021-02-24T16:04:32.240" v="12" actId="6549"/>
          <ac:spMkLst>
            <pc:docMk/>
            <pc:sldMk cId="1719412181" sldId="256"/>
            <ac:spMk id="3" creationId="{7F1B8AA9-DDE5-6742-BB7C-5180B15422C6}"/>
          </ac:spMkLst>
        </pc:spChg>
      </pc:sldChg>
      <pc:sldChg chg="addSp delSp modSp mod">
        <pc:chgData name="Andrew Jenks" userId="4e7ebeef-0c7f-45b3-8ca6-ec73850d6894" providerId="ADAL" clId="{0D279F1B-BFC1-418D-85D1-CDBE6FB4EE8F}" dt="2021-02-24T16:04:09.330" v="11" actId="1076"/>
        <pc:sldMkLst>
          <pc:docMk/>
          <pc:sldMk cId="2277256263" sldId="275"/>
        </pc:sldMkLst>
        <pc:spChg chg="add del mod">
          <ac:chgData name="Andrew Jenks" userId="4e7ebeef-0c7f-45b3-8ca6-ec73850d6894" providerId="ADAL" clId="{0D279F1B-BFC1-418D-85D1-CDBE6FB4EE8F}" dt="2021-02-24T16:03:26.543" v="7" actId="478"/>
          <ac:spMkLst>
            <pc:docMk/>
            <pc:sldMk cId="2277256263" sldId="275"/>
            <ac:spMk id="5" creationId="{08848210-583C-4A17-8106-1FF01E2CA38C}"/>
          </ac:spMkLst>
        </pc:spChg>
        <pc:spChg chg="add mod">
          <ac:chgData name="Andrew Jenks" userId="4e7ebeef-0c7f-45b3-8ca6-ec73850d6894" providerId="ADAL" clId="{0D279F1B-BFC1-418D-85D1-CDBE6FB4EE8F}" dt="2021-02-24T16:03:40.063" v="9" actId="1076"/>
          <ac:spMkLst>
            <pc:docMk/>
            <pc:sldMk cId="2277256263" sldId="275"/>
            <ac:spMk id="7" creationId="{2ED7E798-7A21-4D17-A02A-CD9910B9EDA6}"/>
          </ac:spMkLst>
        </pc:spChg>
        <pc:spChg chg="add mod">
          <ac:chgData name="Andrew Jenks" userId="4e7ebeef-0c7f-45b3-8ca6-ec73850d6894" providerId="ADAL" clId="{0D279F1B-BFC1-418D-85D1-CDBE6FB4EE8F}" dt="2021-02-24T16:03:40.063" v="9" actId="1076"/>
          <ac:spMkLst>
            <pc:docMk/>
            <pc:sldMk cId="2277256263" sldId="275"/>
            <ac:spMk id="8" creationId="{3C4A7D53-6A91-4834-952E-AD2B99B5FDE5}"/>
          </ac:spMkLst>
        </pc:spChg>
        <pc:spChg chg="add mod">
          <ac:chgData name="Andrew Jenks" userId="4e7ebeef-0c7f-45b3-8ca6-ec73850d6894" providerId="ADAL" clId="{0D279F1B-BFC1-418D-85D1-CDBE6FB4EE8F}" dt="2021-02-24T16:03:40.063" v="9" actId="1076"/>
          <ac:spMkLst>
            <pc:docMk/>
            <pc:sldMk cId="2277256263" sldId="275"/>
            <ac:spMk id="9" creationId="{B625D304-EE75-4D27-BFBA-5856417000D9}"/>
          </ac:spMkLst>
        </pc:spChg>
        <pc:spChg chg="add mod">
          <ac:chgData name="Andrew Jenks" userId="4e7ebeef-0c7f-45b3-8ca6-ec73850d6894" providerId="ADAL" clId="{0D279F1B-BFC1-418D-85D1-CDBE6FB4EE8F}" dt="2021-02-24T16:03:40.063" v="9" actId="1076"/>
          <ac:spMkLst>
            <pc:docMk/>
            <pc:sldMk cId="2277256263" sldId="275"/>
            <ac:spMk id="10" creationId="{A0DA3AC3-FF44-4AC1-B7E7-80CA1A7B8F04}"/>
          </ac:spMkLst>
        </pc:spChg>
        <pc:spChg chg="add mod">
          <ac:chgData name="Andrew Jenks" userId="4e7ebeef-0c7f-45b3-8ca6-ec73850d6894" providerId="ADAL" clId="{0D279F1B-BFC1-418D-85D1-CDBE6FB4EE8F}" dt="2021-02-24T16:03:40.063" v="9" actId="1076"/>
          <ac:spMkLst>
            <pc:docMk/>
            <pc:sldMk cId="2277256263" sldId="275"/>
            <ac:spMk id="11" creationId="{13FD1FCD-F3BB-4E5B-84CE-497B07D0B744}"/>
          </ac:spMkLst>
        </pc:spChg>
        <pc:spChg chg="add mod">
          <ac:chgData name="Andrew Jenks" userId="4e7ebeef-0c7f-45b3-8ca6-ec73850d6894" providerId="ADAL" clId="{0D279F1B-BFC1-418D-85D1-CDBE6FB4EE8F}" dt="2021-02-24T16:03:40.063" v="9" actId="1076"/>
          <ac:spMkLst>
            <pc:docMk/>
            <pc:sldMk cId="2277256263" sldId="275"/>
            <ac:spMk id="12" creationId="{06BC6E88-12BF-47F3-9997-4FDC2878AA37}"/>
          </ac:spMkLst>
        </pc:spChg>
        <pc:spChg chg="add mod">
          <ac:chgData name="Andrew Jenks" userId="4e7ebeef-0c7f-45b3-8ca6-ec73850d6894" providerId="ADAL" clId="{0D279F1B-BFC1-418D-85D1-CDBE6FB4EE8F}" dt="2021-02-24T16:03:40.063" v="9" actId="1076"/>
          <ac:spMkLst>
            <pc:docMk/>
            <pc:sldMk cId="2277256263" sldId="275"/>
            <ac:spMk id="13" creationId="{FF7FA696-52E2-4F4B-8559-01F4AFC70820}"/>
          </ac:spMkLst>
        </pc:spChg>
        <pc:spChg chg="add mod">
          <ac:chgData name="Andrew Jenks" userId="4e7ebeef-0c7f-45b3-8ca6-ec73850d6894" providerId="ADAL" clId="{0D279F1B-BFC1-418D-85D1-CDBE6FB4EE8F}" dt="2021-02-24T16:03:40.063" v="9" actId="1076"/>
          <ac:spMkLst>
            <pc:docMk/>
            <pc:sldMk cId="2277256263" sldId="275"/>
            <ac:spMk id="14" creationId="{5CEA6876-53F3-4BA2-8606-163D8F8F3000}"/>
          </ac:spMkLst>
        </pc:spChg>
        <pc:spChg chg="add mod">
          <ac:chgData name="Andrew Jenks" userId="4e7ebeef-0c7f-45b3-8ca6-ec73850d6894" providerId="ADAL" clId="{0D279F1B-BFC1-418D-85D1-CDBE6FB4EE8F}" dt="2021-02-24T16:03:40.063" v="9" actId="1076"/>
          <ac:spMkLst>
            <pc:docMk/>
            <pc:sldMk cId="2277256263" sldId="275"/>
            <ac:spMk id="15" creationId="{1264E546-E804-45FD-A2D4-2A4C5B9C60B7}"/>
          </ac:spMkLst>
        </pc:spChg>
        <pc:spChg chg="add mod">
          <ac:chgData name="Andrew Jenks" userId="4e7ebeef-0c7f-45b3-8ca6-ec73850d6894" providerId="ADAL" clId="{0D279F1B-BFC1-418D-85D1-CDBE6FB4EE8F}" dt="2021-02-24T16:04:09.330" v="11" actId="1076"/>
          <ac:spMkLst>
            <pc:docMk/>
            <pc:sldMk cId="2277256263" sldId="275"/>
            <ac:spMk id="16" creationId="{67D3E63F-F360-4980-A6AF-B61A6B9B79B2}"/>
          </ac:spMkLst>
        </pc:spChg>
        <pc:spChg chg="add mod">
          <ac:chgData name="Andrew Jenks" userId="4e7ebeef-0c7f-45b3-8ca6-ec73850d6894" providerId="ADAL" clId="{0D279F1B-BFC1-418D-85D1-CDBE6FB4EE8F}" dt="2021-02-24T16:04:09.330" v="11" actId="1076"/>
          <ac:spMkLst>
            <pc:docMk/>
            <pc:sldMk cId="2277256263" sldId="275"/>
            <ac:spMk id="17" creationId="{E351C4C2-C642-4BF6-934F-194BF61DC592}"/>
          </ac:spMkLst>
        </pc:spChg>
        <pc:spChg chg="add mod">
          <ac:chgData name="Andrew Jenks" userId="4e7ebeef-0c7f-45b3-8ca6-ec73850d6894" providerId="ADAL" clId="{0D279F1B-BFC1-418D-85D1-CDBE6FB4EE8F}" dt="2021-02-24T16:03:56.689" v="10" actId="1076"/>
          <ac:spMkLst>
            <pc:docMk/>
            <pc:sldMk cId="2277256263" sldId="275"/>
            <ac:spMk id="18" creationId="{95A1389D-6E94-4BCF-B88C-5E66F23C25D6}"/>
          </ac:spMkLst>
        </pc:spChg>
        <pc:spChg chg="add mod">
          <ac:chgData name="Andrew Jenks" userId="4e7ebeef-0c7f-45b3-8ca6-ec73850d6894" providerId="ADAL" clId="{0D279F1B-BFC1-418D-85D1-CDBE6FB4EE8F}" dt="2021-02-24T16:04:09.330" v="11" actId="1076"/>
          <ac:spMkLst>
            <pc:docMk/>
            <pc:sldMk cId="2277256263" sldId="275"/>
            <ac:spMk id="19" creationId="{C64E19FE-5736-452F-B173-21D704DD4B2D}"/>
          </ac:spMkLst>
        </pc:spChg>
        <pc:spChg chg="add mod">
          <ac:chgData name="Andrew Jenks" userId="4e7ebeef-0c7f-45b3-8ca6-ec73850d6894" providerId="ADAL" clId="{0D279F1B-BFC1-418D-85D1-CDBE6FB4EE8F}" dt="2021-02-24T16:03:56.689" v="10" actId="1076"/>
          <ac:spMkLst>
            <pc:docMk/>
            <pc:sldMk cId="2277256263" sldId="275"/>
            <ac:spMk id="20" creationId="{40B5BA39-0CFC-4078-AB94-C952D4679C03}"/>
          </ac:spMkLst>
        </pc:spChg>
        <pc:spChg chg="add mod">
          <ac:chgData name="Andrew Jenks" userId="4e7ebeef-0c7f-45b3-8ca6-ec73850d6894" providerId="ADAL" clId="{0D279F1B-BFC1-418D-85D1-CDBE6FB4EE8F}" dt="2021-02-24T16:04:09.330" v="11" actId="1076"/>
          <ac:spMkLst>
            <pc:docMk/>
            <pc:sldMk cId="2277256263" sldId="275"/>
            <ac:spMk id="21" creationId="{B6143B89-E0A0-4284-9FFB-874074B4D6EB}"/>
          </ac:spMkLst>
        </pc:spChg>
        <pc:spChg chg="add mod">
          <ac:chgData name="Andrew Jenks" userId="4e7ebeef-0c7f-45b3-8ca6-ec73850d6894" providerId="ADAL" clId="{0D279F1B-BFC1-418D-85D1-CDBE6FB4EE8F}" dt="2021-02-24T16:04:09.330" v="11" actId="1076"/>
          <ac:spMkLst>
            <pc:docMk/>
            <pc:sldMk cId="2277256263" sldId="275"/>
            <ac:spMk id="22" creationId="{2909F7F7-1CF1-471D-9D2F-AE1226DC41DB}"/>
          </ac:spMkLst>
        </pc:spChg>
        <pc:spChg chg="add mod">
          <ac:chgData name="Andrew Jenks" userId="4e7ebeef-0c7f-45b3-8ca6-ec73850d6894" providerId="ADAL" clId="{0D279F1B-BFC1-418D-85D1-CDBE6FB4EE8F}" dt="2021-02-24T16:04:09.330" v="11" actId="1076"/>
          <ac:spMkLst>
            <pc:docMk/>
            <pc:sldMk cId="2277256263" sldId="275"/>
            <ac:spMk id="23" creationId="{BE1D792A-3B86-499C-80B8-AB921BDB033F}"/>
          </ac:spMkLst>
        </pc:spChg>
        <pc:graphicFrameChg chg="add del mod modGraphic">
          <ac:chgData name="Andrew Jenks" userId="4e7ebeef-0c7f-45b3-8ca6-ec73850d6894" providerId="ADAL" clId="{0D279F1B-BFC1-418D-85D1-CDBE6FB4EE8F}" dt="2021-02-24T16:03:23.491" v="6" actId="478"/>
          <ac:graphicFrameMkLst>
            <pc:docMk/>
            <pc:sldMk cId="2277256263" sldId="275"/>
            <ac:graphicFrameMk id="3" creationId="{7AC9804F-9EF3-4B70-976B-AF6C40F27BF3}"/>
          </ac:graphicFrameMkLst>
        </pc:graphicFrameChg>
        <pc:graphicFrameChg chg="add mod">
          <ac:chgData name="Andrew Jenks" userId="4e7ebeef-0c7f-45b3-8ca6-ec73850d6894" providerId="ADAL" clId="{0D279F1B-BFC1-418D-85D1-CDBE6FB4EE8F}" dt="2021-02-24T16:03:27.037" v="8"/>
          <ac:graphicFrameMkLst>
            <pc:docMk/>
            <pc:sldMk cId="2277256263" sldId="275"/>
            <ac:graphicFrameMk id="6" creationId="{00DF6EAE-A4F1-48DC-8A9F-831CA732BD52}"/>
          </ac:graphicFrameMkLst>
        </pc:graphicFrameChg>
      </pc:sldChg>
      <pc:sldChg chg="modSp add del mod">
        <pc:chgData name="Andrew Jenks" userId="4e7ebeef-0c7f-45b3-8ca6-ec73850d6894" providerId="ADAL" clId="{0D279F1B-BFC1-418D-85D1-CDBE6FB4EE8F}" dt="2021-02-24T16:02:55.668" v="4" actId="22"/>
        <pc:sldMkLst>
          <pc:docMk/>
          <pc:sldMk cId="3567606902" sldId="276"/>
        </pc:sldMkLst>
        <pc:spChg chg="mod">
          <ac:chgData name="Andrew Jenks" userId="4e7ebeef-0c7f-45b3-8ca6-ec73850d6894" providerId="ADAL" clId="{0D279F1B-BFC1-418D-85D1-CDBE6FB4EE8F}" dt="2021-02-24T16:02:55.143" v="3" actId="20577"/>
          <ac:spMkLst>
            <pc:docMk/>
            <pc:sldMk cId="3567606902" sldId="276"/>
            <ac:spMk id="2" creationId="{56536E0F-6A0A-4C48-BAEE-78C97FE2C417}"/>
          </ac:spMkLst>
        </pc:spChg>
      </pc:sldChg>
    </pc:docChg>
  </pc:docChgLst>
  <pc:docChgLst>
    <pc:chgData name="Andrew Jenks" userId="4e7ebeef-0c7f-45b3-8ca6-ec73850d6894" providerId="ADAL" clId="{0010C273-2E50-4EF5-BCE8-3EA3BB5F92A4}"/>
    <pc:docChg chg="undo custSel addSld delSld modSld">
      <pc:chgData name="Andrew Jenks" userId="4e7ebeef-0c7f-45b3-8ca6-ec73850d6894" providerId="ADAL" clId="{0010C273-2E50-4EF5-BCE8-3EA3BB5F92A4}" dt="2021-02-27T14:14:29.466" v="968" actId="20577"/>
      <pc:docMkLst>
        <pc:docMk/>
      </pc:docMkLst>
      <pc:sldChg chg="del">
        <pc:chgData name="Andrew Jenks" userId="4e7ebeef-0c7f-45b3-8ca6-ec73850d6894" providerId="ADAL" clId="{0010C273-2E50-4EF5-BCE8-3EA3BB5F92A4}" dt="2021-02-25T18:29:50.524" v="750" actId="47"/>
        <pc:sldMkLst>
          <pc:docMk/>
          <pc:sldMk cId="1571350143" sldId="271"/>
        </pc:sldMkLst>
      </pc:sldChg>
      <pc:sldChg chg="modSp mod">
        <pc:chgData name="Andrew Jenks" userId="4e7ebeef-0c7f-45b3-8ca6-ec73850d6894" providerId="ADAL" clId="{0010C273-2E50-4EF5-BCE8-3EA3BB5F92A4}" dt="2021-02-25T18:41:31.623" v="959" actId="1076"/>
        <pc:sldMkLst>
          <pc:docMk/>
          <pc:sldMk cId="2733457047" sldId="274"/>
        </pc:sldMkLst>
        <pc:spChg chg="mod">
          <ac:chgData name="Andrew Jenks" userId="4e7ebeef-0c7f-45b3-8ca6-ec73850d6894" providerId="ADAL" clId="{0010C273-2E50-4EF5-BCE8-3EA3BB5F92A4}" dt="2021-02-25T18:41:15.946" v="957" actId="1076"/>
          <ac:spMkLst>
            <pc:docMk/>
            <pc:sldMk cId="2733457047" sldId="274"/>
            <ac:spMk id="8" creationId="{231EA9F7-F27A-4E17-9B50-A46174C06A90}"/>
          </ac:spMkLst>
        </pc:spChg>
        <pc:spChg chg="mod">
          <ac:chgData name="Andrew Jenks" userId="4e7ebeef-0c7f-45b3-8ca6-ec73850d6894" providerId="ADAL" clId="{0010C273-2E50-4EF5-BCE8-3EA3BB5F92A4}" dt="2021-02-25T18:41:22.654" v="958" actId="1076"/>
          <ac:spMkLst>
            <pc:docMk/>
            <pc:sldMk cId="2733457047" sldId="274"/>
            <ac:spMk id="36" creationId="{F52A0D2A-3E4C-4DAC-8B55-5F61B708B0D3}"/>
          </ac:spMkLst>
        </pc:spChg>
        <pc:spChg chg="mod">
          <ac:chgData name="Andrew Jenks" userId="4e7ebeef-0c7f-45b3-8ca6-ec73850d6894" providerId="ADAL" clId="{0010C273-2E50-4EF5-BCE8-3EA3BB5F92A4}" dt="2021-02-25T18:41:31.623" v="959" actId="1076"/>
          <ac:spMkLst>
            <pc:docMk/>
            <pc:sldMk cId="2733457047" sldId="274"/>
            <ac:spMk id="41" creationId="{F81763A7-151D-4990-9B69-DF3959BDEF3F}"/>
          </ac:spMkLst>
        </pc:spChg>
      </pc:sldChg>
      <pc:sldChg chg="modSp mod">
        <pc:chgData name="Andrew Jenks" userId="4e7ebeef-0c7f-45b3-8ca6-ec73850d6894" providerId="ADAL" clId="{0010C273-2E50-4EF5-BCE8-3EA3BB5F92A4}" dt="2021-02-27T14:14:29.466" v="968" actId="20577"/>
        <pc:sldMkLst>
          <pc:docMk/>
          <pc:sldMk cId="2277256263" sldId="275"/>
        </pc:sldMkLst>
        <pc:spChg chg="mod">
          <ac:chgData name="Andrew Jenks" userId="4e7ebeef-0c7f-45b3-8ca6-ec73850d6894" providerId="ADAL" clId="{0010C273-2E50-4EF5-BCE8-3EA3BB5F92A4}" dt="2021-02-25T18:36:23.699" v="858" actId="1076"/>
          <ac:spMkLst>
            <pc:docMk/>
            <pc:sldMk cId="2277256263" sldId="275"/>
            <ac:spMk id="7" creationId="{2ED7E798-7A21-4D17-A02A-CD9910B9EDA6}"/>
          </ac:spMkLst>
        </pc:spChg>
        <pc:spChg chg="mod">
          <ac:chgData name="Andrew Jenks" userId="4e7ebeef-0c7f-45b3-8ca6-ec73850d6894" providerId="ADAL" clId="{0010C273-2E50-4EF5-BCE8-3EA3BB5F92A4}" dt="2021-02-25T18:36:29.589" v="859" actId="1076"/>
          <ac:spMkLst>
            <pc:docMk/>
            <pc:sldMk cId="2277256263" sldId="275"/>
            <ac:spMk id="8" creationId="{3C4A7D53-6A91-4834-952E-AD2B99B5FDE5}"/>
          </ac:spMkLst>
        </pc:spChg>
        <pc:spChg chg="mod">
          <ac:chgData name="Andrew Jenks" userId="4e7ebeef-0c7f-45b3-8ca6-ec73850d6894" providerId="ADAL" clId="{0010C273-2E50-4EF5-BCE8-3EA3BB5F92A4}" dt="2021-02-25T18:36:33.788" v="860" actId="1076"/>
          <ac:spMkLst>
            <pc:docMk/>
            <pc:sldMk cId="2277256263" sldId="275"/>
            <ac:spMk id="9" creationId="{B625D304-EE75-4D27-BFBA-5856417000D9}"/>
          </ac:spMkLst>
        </pc:spChg>
        <pc:spChg chg="mod">
          <ac:chgData name="Andrew Jenks" userId="4e7ebeef-0c7f-45b3-8ca6-ec73850d6894" providerId="ADAL" clId="{0010C273-2E50-4EF5-BCE8-3EA3BB5F92A4}" dt="2021-02-25T18:36:38.309" v="861" actId="1076"/>
          <ac:spMkLst>
            <pc:docMk/>
            <pc:sldMk cId="2277256263" sldId="275"/>
            <ac:spMk id="10" creationId="{A0DA3AC3-FF44-4AC1-B7E7-80CA1A7B8F04}"/>
          </ac:spMkLst>
        </pc:spChg>
        <pc:spChg chg="mod">
          <ac:chgData name="Andrew Jenks" userId="4e7ebeef-0c7f-45b3-8ca6-ec73850d6894" providerId="ADAL" clId="{0010C273-2E50-4EF5-BCE8-3EA3BB5F92A4}" dt="2021-02-25T18:36:43.223" v="862" actId="1076"/>
          <ac:spMkLst>
            <pc:docMk/>
            <pc:sldMk cId="2277256263" sldId="275"/>
            <ac:spMk id="11" creationId="{13FD1FCD-F3BB-4E5B-84CE-497B07D0B744}"/>
          </ac:spMkLst>
        </pc:spChg>
        <pc:spChg chg="mod">
          <ac:chgData name="Andrew Jenks" userId="4e7ebeef-0c7f-45b3-8ca6-ec73850d6894" providerId="ADAL" clId="{0010C273-2E50-4EF5-BCE8-3EA3BB5F92A4}" dt="2021-02-25T18:36:49.351" v="863" actId="1076"/>
          <ac:spMkLst>
            <pc:docMk/>
            <pc:sldMk cId="2277256263" sldId="275"/>
            <ac:spMk id="12" creationId="{06BC6E88-12BF-47F3-9997-4FDC2878AA37}"/>
          </ac:spMkLst>
        </pc:spChg>
        <pc:spChg chg="mod">
          <ac:chgData name="Andrew Jenks" userId="4e7ebeef-0c7f-45b3-8ca6-ec73850d6894" providerId="ADAL" clId="{0010C273-2E50-4EF5-BCE8-3EA3BB5F92A4}" dt="2021-02-25T18:36:56.416" v="864" actId="1076"/>
          <ac:spMkLst>
            <pc:docMk/>
            <pc:sldMk cId="2277256263" sldId="275"/>
            <ac:spMk id="13" creationId="{FF7FA696-52E2-4F4B-8559-01F4AFC70820}"/>
          </ac:spMkLst>
        </pc:spChg>
        <pc:spChg chg="mod">
          <ac:chgData name="Andrew Jenks" userId="4e7ebeef-0c7f-45b3-8ca6-ec73850d6894" providerId="ADAL" clId="{0010C273-2E50-4EF5-BCE8-3EA3BB5F92A4}" dt="2021-02-25T18:37:01.943" v="865" actId="1076"/>
          <ac:spMkLst>
            <pc:docMk/>
            <pc:sldMk cId="2277256263" sldId="275"/>
            <ac:spMk id="14" creationId="{5CEA6876-53F3-4BA2-8606-163D8F8F3000}"/>
          </ac:spMkLst>
        </pc:spChg>
        <pc:spChg chg="mod">
          <ac:chgData name="Andrew Jenks" userId="4e7ebeef-0c7f-45b3-8ca6-ec73850d6894" providerId="ADAL" clId="{0010C273-2E50-4EF5-BCE8-3EA3BB5F92A4}" dt="2021-02-25T18:37:08.113" v="866" actId="1076"/>
          <ac:spMkLst>
            <pc:docMk/>
            <pc:sldMk cId="2277256263" sldId="275"/>
            <ac:spMk id="15" creationId="{1264E546-E804-45FD-A2D4-2A4C5B9C60B7}"/>
          </ac:spMkLst>
        </pc:spChg>
        <pc:spChg chg="mod">
          <ac:chgData name="Andrew Jenks" userId="4e7ebeef-0c7f-45b3-8ca6-ec73850d6894" providerId="ADAL" clId="{0010C273-2E50-4EF5-BCE8-3EA3BB5F92A4}" dt="2021-02-25T18:37:15.233" v="867" actId="1076"/>
          <ac:spMkLst>
            <pc:docMk/>
            <pc:sldMk cId="2277256263" sldId="275"/>
            <ac:spMk id="16" creationId="{67D3E63F-F360-4980-A6AF-B61A6B9B79B2}"/>
          </ac:spMkLst>
        </pc:spChg>
        <pc:spChg chg="mod">
          <ac:chgData name="Andrew Jenks" userId="4e7ebeef-0c7f-45b3-8ca6-ec73850d6894" providerId="ADAL" clId="{0010C273-2E50-4EF5-BCE8-3EA3BB5F92A4}" dt="2021-02-25T18:37:23.962" v="868" actId="1076"/>
          <ac:spMkLst>
            <pc:docMk/>
            <pc:sldMk cId="2277256263" sldId="275"/>
            <ac:spMk id="17" creationId="{E351C4C2-C642-4BF6-934F-194BF61DC592}"/>
          </ac:spMkLst>
        </pc:spChg>
        <pc:spChg chg="mod">
          <ac:chgData name="Andrew Jenks" userId="4e7ebeef-0c7f-45b3-8ca6-ec73850d6894" providerId="ADAL" clId="{0010C273-2E50-4EF5-BCE8-3EA3BB5F92A4}" dt="2021-02-25T18:37:59.237" v="873" actId="1076"/>
          <ac:spMkLst>
            <pc:docMk/>
            <pc:sldMk cId="2277256263" sldId="275"/>
            <ac:spMk id="18" creationId="{95A1389D-6E94-4BCF-B88C-5E66F23C25D6}"/>
          </ac:spMkLst>
        </pc:spChg>
        <pc:spChg chg="mod">
          <ac:chgData name="Andrew Jenks" userId="4e7ebeef-0c7f-45b3-8ca6-ec73850d6894" providerId="ADAL" clId="{0010C273-2E50-4EF5-BCE8-3EA3BB5F92A4}" dt="2021-02-25T18:37:32.762" v="869" actId="1076"/>
          <ac:spMkLst>
            <pc:docMk/>
            <pc:sldMk cId="2277256263" sldId="275"/>
            <ac:spMk id="19" creationId="{C64E19FE-5736-452F-B173-21D704DD4B2D}"/>
          </ac:spMkLst>
        </pc:spChg>
        <pc:spChg chg="mod">
          <ac:chgData name="Andrew Jenks" userId="4e7ebeef-0c7f-45b3-8ca6-ec73850d6894" providerId="ADAL" clId="{0010C273-2E50-4EF5-BCE8-3EA3BB5F92A4}" dt="2021-02-25T18:38:05.783" v="874" actId="1076"/>
          <ac:spMkLst>
            <pc:docMk/>
            <pc:sldMk cId="2277256263" sldId="275"/>
            <ac:spMk id="20" creationId="{40B5BA39-0CFC-4078-AB94-C952D4679C03}"/>
          </ac:spMkLst>
        </pc:spChg>
        <pc:spChg chg="mod">
          <ac:chgData name="Andrew Jenks" userId="4e7ebeef-0c7f-45b3-8ca6-ec73850d6894" providerId="ADAL" clId="{0010C273-2E50-4EF5-BCE8-3EA3BB5F92A4}" dt="2021-02-25T18:37:38.260" v="870" actId="1076"/>
          <ac:spMkLst>
            <pc:docMk/>
            <pc:sldMk cId="2277256263" sldId="275"/>
            <ac:spMk id="21" creationId="{B6143B89-E0A0-4284-9FFB-874074B4D6EB}"/>
          </ac:spMkLst>
        </pc:spChg>
        <pc:spChg chg="mod">
          <ac:chgData name="Andrew Jenks" userId="4e7ebeef-0c7f-45b3-8ca6-ec73850d6894" providerId="ADAL" clId="{0010C273-2E50-4EF5-BCE8-3EA3BB5F92A4}" dt="2021-02-25T18:37:47.164" v="871" actId="1076"/>
          <ac:spMkLst>
            <pc:docMk/>
            <pc:sldMk cId="2277256263" sldId="275"/>
            <ac:spMk id="22" creationId="{2909F7F7-1CF1-471D-9D2F-AE1226DC41DB}"/>
          </ac:spMkLst>
        </pc:spChg>
        <pc:spChg chg="mod">
          <ac:chgData name="Andrew Jenks" userId="4e7ebeef-0c7f-45b3-8ca6-ec73850d6894" providerId="ADAL" clId="{0010C273-2E50-4EF5-BCE8-3EA3BB5F92A4}" dt="2021-02-25T18:37:52.324" v="872" actId="1076"/>
          <ac:spMkLst>
            <pc:docMk/>
            <pc:sldMk cId="2277256263" sldId="275"/>
            <ac:spMk id="23" creationId="{BE1D792A-3B86-499C-80B8-AB921BDB033F}"/>
          </ac:spMkLst>
        </pc:spChg>
        <pc:graphicFrameChg chg="modGraphic">
          <ac:chgData name="Andrew Jenks" userId="4e7ebeef-0c7f-45b3-8ca6-ec73850d6894" providerId="ADAL" clId="{0010C273-2E50-4EF5-BCE8-3EA3BB5F92A4}" dt="2021-02-27T14:14:29.466" v="968" actId="20577"/>
          <ac:graphicFrameMkLst>
            <pc:docMk/>
            <pc:sldMk cId="2277256263" sldId="275"/>
            <ac:graphicFrameMk id="6" creationId="{00DF6EAE-A4F1-48DC-8A9F-831CA732BD52}"/>
          </ac:graphicFrameMkLst>
        </pc:graphicFrameChg>
      </pc:sldChg>
      <pc:sldChg chg="addSp delSp modSp new del mod">
        <pc:chgData name="Andrew Jenks" userId="4e7ebeef-0c7f-45b3-8ca6-ec73850d6894" providerId="ADAL" clId="{0010C273-2E50-4EF5-BCE8-3EA3BB5F92A4}" dt="2021-02-25T17:51:03.716" v="61" actId="2696"/>
        <pc:sldMkLst>
          <pc:docMk/>
          <pc:sldMk cId="86598736" sldId="276"/>
        </pc:sldMkLst>
        <pc:spChg chg="del">
          <ac:chgData name="Andrew Jenks" userId="4e7ebeef-0c7f-45b3-8ca6-ec73850d6894" providerId="ADAL" clId="{0010C273-2E50-4EF5-BCE8-3EA3BB5F92A4}" dt="2021-02-25T17:35:50.401" v="55" actId="478"/>
          <ac:spMkLst>
            <pc:docMk/>
            <pc:sldMk cId="86598736" sldId="276"/>
            <ac:spMk id="3" creationId="{080B048A-36B3-4029-A050-788585E8F041}"/>
          </ac:spMkLst>
        </pc:spChg>
        <pc:spChg chg="add mod">
          <ac:chgData name="Andrew Jenks" userId="4e7ebeef-0c7f-45b3-8ca6-ec73850d6894" providerId="ADAL" clId="{0010C273-2E50-4EF5-BCE8-3EA3BB5F92A4}" dt="2021-02-25T17:36:17.365" v="60" actId="1076"/>
          <ac:spMkLst>
            <pc:docMk/>
            <pc:sldMk cId="86598736" sldId="276"/>
            <ac:spMk id="6" creationId="{5585FC35-CB97-4DE5-9719-9FAB82FE6F8A}"/>
          </ac:spMkLst>
        </pc:spChg>
        <pc:picChg chg="add mod">
          <ac:chgData name="Andrew Jenks" userId="4e7ebeef-0c7f-45b3-8ca6-ec73850d6894" providerId="ADAL" clId="{0010C273-2E50-4EF5-BCE8-3EA3BB5F92A4}" dt="2021-02-25T17:35:58.817" v="58" actId="1076"/>
          <ac:picMkLst>
            <pc:docMk/>
            <pc:sldMk cId="86598736" sldId="276"/>
            <ac:picMk id="4" creationId="{5EF0C6CA-FB25-4D38-ACFD-C6F0C2D9D2D3}"/>
          </ac:picMkLst>
        </pc:picChg>
      </pc:sldChg>
      <pc:sldChg chg="addSp delSp modSp new del mod">
        <pc:chgData name="Andrew Jenks" userId="4e7ebeef-0c7f-45b3-8ca6-ec73850d6894" providerId="ADAL" clId="{0010C273-2E50-4EF5-BCE8-3EA3BB5F92A4}" dt="2021-02-25T18:29:47.242" v="749" actId="47"/>
        <pc:sldMkLst>
          <pc:docMk/>
          <pc:sldMk cId="2986515277" sldId="276"/>
        </pc:sldMkLst>
        <pc:spChg chg="mod">
          <ac:chgData name="Andrew Jenks" userId="4e7ebeef-0c7f-45b3-8ca6-ec73850d6894" providerId="ADAL" clId="{0010C273-2E50-4EF5-BCE8-3EA3BB5F92A4}" dt="2021-02-25T17:51:32.314" v="79" actId="20577"/>
          <ac:spMkLst>
            <pc:docMk/>
            <pc:sldMk cId="2986515277" sldId="276"/>
            <ac:spMk id="2" creationId="{C45231D8-09BE-4295-B321-FCA759534B0F}"/>
          </ac:spMkLst>
        </pc:spChg>
        <pc:spChg chg="del">
          <ac:chgData name="Andrew Jenks" userId="4e7ebeef-0c7f-45b3-8ca6-ec73850d6894" providerId="ADAL" clId="{0010C273-2E50-4EF5-BCE8-3EA3BB5F92A4}" dt="2021-02-25T17:51:26.075" v="63" actId="478"/>
          <ac:spMkLst>
            <pc:docMk/>
            <pc:sldMk cId="2986515277" sldId="276"/>
            <ac:spMk id="3" creationId="{A2977434-4E68-445B-9BD3-04F042CC4E6A}"/>
          </ac:spMkLst>
        </pc:spChg>
        <pc:spChg chg="add del mod">
          <ac:chgData name="Andrew Jenks" userId="4e7ebeef-0c7f-45b3-8ca6-ec73850d6894" providerId="ADAL" clId="{0010C273-2E50-4EF5-BCE8-3EA3BB5F92A4}" dt="2021-02-25T18:04:16.382" v="167" actId="478"/>
          <ac:spMkLst>
            <pc:docMk/>
            <pc:sldMk cId="2986515277" sldId="276"/>
            <ac:spMk id="10" creationId="{221D3643-565A-459D-9EF2-0F481F6CC220}"/>
          </ac:spMkLst>
        </pc:spChg>
        <pc:spChg chg="add del">
          <ac:chgData name="Andrew Jenks" userId="4e7ebeef-0c7f-45b3-8ca6-ec73850d6894" providerId="ADAL" clId="{0010C273-2E50-4EF5-BCE8-3EA3BB5F92A4}" dt="2021-02-25T18:01:37.348" v="122" actId="478"/>
          <ac:spMkLst>
            <pc:docMk/>
            <pc:sldMk cId="2986515277" sldId="276"/>
            <ac:spMk id="11" creationId="{CA87FA88-9F52-471B-9E2C-DECEA2F83EA7}"/>
          </ac:spMkLst>
        </pc:spChg>
        <pc:spChg chg="add del mod">
          <ac:chgData name="Andrew Jenks" userId="4e7ebeef-0c7f-45b3-8ca6-ec73850d6894" providerId="ADAL" clId="{0010C273-2E50-4EF5-BCE8-3EA3BB5F92A4}" dt="2021-02-25T18:06:00.261" v="223" actId="478"/>
          <ac:spMkLst>
            <pc:docMk/>
            <pc:sldMk cId="2986515277" sldId="276"/>
            <ac:spMk id="12" creationId="{5F4EE3E0-14E7-4BB9-A7E9-6FDCCFFD0C7A}"/>
          </ac:spMkLst>
        </pc:spChg>
        <pc:spChg chg="add mod ord">
          <ac:chgData name="Andrew Jenks" userId="4e7ebeef-0c7f-45b3-8ca6-ec73850d6894" providerId="ADAL" clId="{0010C273-2E50-4EF5-BCE8-3EA3BB5F92A4}" dt="2021-02-25T18:07:03.202" v="253" actId="1076"/>
          <ac:spMkLst>
            <pc:docMk/>
            <pc:sldMk cId="2986515277" sldId="276"/>
            <ac:spMk id="13" creationId="{A356D416-5BD3-40E9-95BF-373B90434B9B}"/>
          </ac:spMkLst>
        </pc:spChg>
        <pc:spChg chg="add mod">
          <ac:chgData name="Andrew Jenks" userId="4e7ebeef-0c7f-45b3-8ca6-ec73850d6894" providerId="ADAL" clId="{0010C273-2E50-4EF5-BCE8-3EA3BB5F92A4}" dt="2021-02-25T18:07:03.202" v="253" actId="1076"/>
          <ac:spMkLst>
            <pc:docMk/>
            <pc:sldMk cId="2986515277" sldId="276"/>
            <ac:spMk id="14" creationId="{6F942D0F-EE43-4EFF-9982-B21F7DC78DAB}"/>
          </ac:spMkLst>
        </pc:spChg>
        <pc:spChg chg="add mod">
          <ac:chgData name="Andrew Jenks" userId="4e7ebeef-0c7f-45b3-8ca6-ec73850d6894" providerId="ADAL" clId="{0010C273-2E50-4EF5-BCE8-3EA3BB5F92A4}" dt="2021-02-25T18:07:17.178" v="255" actId="1076"/>
          <ac:spMkLst>
            <pc:docMk/>
            <pc:sldMk cId="2986515277" sldId="276"/>
            <ac:spMk id="15" creationId="{CA702670-24CC-485A-A05A-5EE68F94E76F}"/>
          </ac:spMkLst>
        </pc:spChg>
        <pc:spChg chg="add mod">
          <ac:chgData name="Andrew Jenks" userId="4e7ebeef-0c7f-45b3-8ca6-ec73850d6894" providerId="ADAL" clId="{0010C273-2E50-4EF5-BCE8-3EA3BB5F92A4}" dt="2021-02-25T18:07:12.019" v="254" actId="1076"/>
          <ac:spMkLst>
            <pc:docMk/>
            <pc:sldMk cId="2986515277" sldId="276"/>
            <ac:spMk id="16" creationId="{3A26B69B-20C3-43C8-81E3-9EAC2791B1F7}"/>
          </ac:spMkLst>
        </pc:spChg>
        <pc:spChg chg="add mod">
          <ac:chgData name="Andrew Jenks" userId="4e7ebeef-0c7f-45b3-8ca6-ec73850d6894" providerId="ADAL" clId="{0010C273-2E50-4EF5-BCE8-3EA3BB5F92A4}" dt="2021-02-25T18:08:04.814" v="279" actId="20577"/>
          <ac:spMkLst>
            <pc:docMk/>
            <pc:sldMk cId="2986515277" sldId="276"/>
            <ac:spMk id="18" creationId="{3B881B46-F09F-4AF0-A858-D71478A3B0F4}"/>
          </ac:spMkLst>
        </pc:spChg>
        <pc:spChg chg="add mod">
          <ac:chgData name="Andrew Jenks" userId="4e7ebeef-0c7f-45b3-8ca6-ec73850d6894" providerId="ADAL" clId="{0010C273-2E50-4EF5-BCE8-3EA3BB5F92A4}" dt="2021-02-25T18:08:42.418" v="317" actId="20577"/>
          <ac:spMkLst>
            <pc:docMk/>
            <pc:sldMk cId="2986515277" sldId="276"/>
            <ac:spMk id="19" creationId="{9AB74556-B981-43BB-8715-86EF87E43EBB}"/>
          </ac:spMkLst>
        </pc:spChg>
        <pc:grpChg chg="add mod">
          <ac:chgData name="Andrew Jenks" userId="4e7ebeef-0c7f-45b3-8ca6-ec73850d6894" providerId="ADAL" clId="{0010C273-2E50-4EF5-BCE8-3EA3BB5F92A4}" dt="2021-02-25T18:07:03.202" v="253" actId="1076"/>
          <ac:grpSpMkLst>
            <pc:docMk/>
            <pc:sldMk cId="2986515277" sldId="276"/>
            <ac:grpSpMk id="17" creationId="{AE2CBE64-2E09-4BA5-9C81-2A459DD645D0}"/>
          </ac:grpSpMkLst>
        </pc:grpChg>
        <pc:picChg chg="add mod">
          <ac:chgData name="Andrew Jenks" userId="4e7ebeef-0c7f-45b3-8ca6-ec73850d6894" providerId="ADAL" clId="{0010C273-2E50-4EF5-BCE8-3EA3BB5F92A4}" dt="2021-02-25T18:07:03.202" v="253" actId="1076"/>
          <ac:picMkLst>
            <pc:docMk/>
            <pc:sldMk cId="2986515277" sldId="276"/>
            <ac:picMk id="5" creationId="{31022DED-F91E-4289-BB03-176C73FE2640}"/>
          </ac:picMkLst>
        </pc:picChg>
        <pc:picChg chg="add mod">
          <ac:chgData name="Andrew Jenks" userId="4e7ebeef-0c7f-45b3-8ca6-ec73850d6894" providerId="ADAL" clId="{0010C273-2E50-4EF5-BCE8-3EA3BB5F92A4}" dt="2021-02-25T18:07:03.202" v="253" actId="1076"/>
          <ac:picMkLst>
            <pc:docMk/>
            <pc:sldMk cId="2986515277" sldId="276"/>
            <ac:picMk id="7" creationId="{830DFD69-9CD6-4BD4-9A1A-5B3CE54106FF}"/>
          </ac:picMkLst>
        </pc:picChg>
        <pc:picChg chg="add mod">
          <ac:chgData name="Andrew Jenks" userId="4e7ebeef-0c7f-45b3-8ca6-ec73850d6894" providerId="ADAL" clId="{0010C273-2E50-4EF5-BCE8-3EA3BB5F92A4}" dt="2021-02-25T18:02:13.575" v="126" actId="1076"/>
          <ac:picMkLst>
            <pc:docMk/>
            <pc:sldMk cId="2986515277" sldId="276"/>
            <ac:picMk id="9" creationId="{1F919DD8-F10E-43B6-B2E2-114F23894BEC}"/>
          </ac:picMkLst>
        </pc:picChg>
      </pc:sldChg>
      <pc:sldChg chg="addSp delSp modSp new mod">
        <pc:chgData name="Andrew Jenks" userId="4e7ebeef-0c7f-45b3-8ca6-ec73850d6894" providerId="ADAL" clId="{0010C273-2E50-4EF5-BCE8-3EA3BB5F92A4}" dt="2021-02-27T14:14:18.522" v="961" actId="14100"/>
        <pc:sldMkLst>
          <pc:docMk/>
          <pc:sldMk cId="3032914064" sldId="277"/>
        </pc:sldMkLst>
        <pc:spChg chg="mod">
          <ac:chgData name="Andrew Jenks" userId="4e7ebeef-0c7f-45b3-8ca6-ec73850d6894" providerId="ADAL" clId="{0010C273-2E50-4EF5-BCE8-3EA3BB5F92A4}" dt="2021-02-25T18:20:50.568" v="591" actId="1076"/>
          <ac:spMkLst>
            <pc:docMk/>
            <pc:sldMk cId="3032914064" sldId="277"/>
            <ac:spMk id="2" creationId="{BF759AE8-42F7-45DC-88DF-75C21E0FF8E3}"/>
          </ac:spMkLst>
        </pc:spChg>
        <pc:spChg chg="del">
          <ac:chgData name="Andrew Jenks" userId="4e7ebeef-0c7f-45b3-8ca6-ec73850d6894" providerId="ADAL" clId="{0010C273-2E50-4EF5-BCE8-3EA3BB5F92A4}" dt="2021-02-25T18:09:12.534" v="319" actId="478"/>
          <ac:spMkLst>
            <pc:docMk/>
            <pc:sldMk cId="3032914064" sldId="277"/>
            <ac:spMk id="3" creationId="{457BC2F1-8D34-4B6A-A6C0-F781A4ECF429}"/>
          </ac:spMkLst>
        </pc:spChg>
        <pc:spChg chg="add mod">
          <ac:chgData name="Andrew Jenks" userId="4e7ebeef-0c7f-45b3-8ca6-ec73850d6894" providerId="ADAL" clId="{0010C273-2E50-4EF5-BCE8-3EA3BB5F92A4}" dt="2021-02-25T18:23:38.989" v="672" actId="1076"/>
          <ac:spMkLst>
            <pc:docMk/>
            <pc:sldMk cId="3032914064" sldId="277"/>
            <ac:spMk id="11" creationId="{7E084EF9-71D5-496E-96A3-D9D9DB747571}"/>
          </ac:spMkLst>
        </pc:spChg>
        <pc:spChg chg="add del">
          <ac:chgData name="Andrew Jenks" userId="4e7ebeef-0c7f-45b3-8ca6-ec73850d6894" providerId="ADAL" clId="{0010C273-2E50-4EF5-BCE8-3EA3BB5F92A4}" dt="2021-02-25T18:10:45.879" v="330" actId="478"/>
          <ac:spMkLst>
            <pc:docMk/>
            <pc:sldMk cId="3032914064" sldId="277"/>
            <ac:spMk id="13" creationId="{3D7E4838-7655-41F8-BEAE-CB7BAB73E013}"/>
          </ac:spMkLst>
        </pc:spChg>
        <pc:spChg chg="add del mod">
          <ac:chgData name="Andrew Jenks" userId="4e7ebeef-0c7f-45b3-8ca6-ec73850d6894" providerId="ADAL" clId="{0010C273-2E50-4EF5-BCE8-3EA3BB5F92A4}" dt="2021-02-25T18:14:24.158" v="401" actId="478"/>
          <ac:spMkLst>
            <pc:docMk/>
            <pc:sldMk cId="3032914064" sldId="277"/>
            <ac:spMk id="14" creationId="{EC57A0B1-C1CF-4068-95EE-D5D90A670144}"/>
          </ac:spMkLst>
        </pc:spChg>
        <pc:spChg chg="add del mod">
          <ac:chgData name="Andrew Jenks" userId="4e7ebeef-0c7f-45b3-8ca6-ec73850d6894" providerId="ADAL" clId="{0010C273-2E50-4EF5-BCE8-3EA3BB5F92A4}" dt="2021-02-25T18:14:23.313" v="400" actId="478"/>
          <ac:spMkLst>
            <pc:docMk/>
            <pc:sldMk cId="3032914064" sldId="277"/>
            <ac:spMk id="17" creationId="{1DA00D06-F0D5-47EE-B97F-03538BE11371}"/>
          </ac:spMkLst>
        </pc:spChg>
        <pc:spChg chg="add mod">
          <ac:chgData name="Andrew Jenks" userId="4e7ebeef-0c7f-45b3-8ca6-ec73850d6894" providerId="ADAL" clId="{0010C273-2E50-4EF5-BCE8-3EA3BB5F92A4}" dt="2021-02-25T18:29:19.382" v="747" actId="1076"/>
          <ac:spMkLst>
            <pc:docMk/>
            <pc:sldMk cId="3032914064" sldId="277"/>
            <ac:spMk id="19" creationId="{D854D665-9C52-4227-98DB-7A48B49E2D0A}"/>
          </ac:spMkLst>
        </pc:spChg>
        <pc:spChg chg="add mod">
          <ac:chgData name="Andrew Jenks" userId="4e7ebeef-0c7f-45b3-8ca6-ec73850d6894" providerId="ADAL" clId="{0010C273-2E50-4EF5-BCE8-3EA3BB5F92A4}" dt="2021-02-25T18:23:06.978" v="670" actId="1076"/>
          <ac:spMkLst>
            <pc:docMk/>
            <pc:sldMk cId="3032914064" sldId="277"/>
            <ac:spMk id="20" creationId="{3478A587-9266-4387-9F9B-771E8C49C2B1}"/>
          </ac:spMkLst>
        </pc:spChg>
        <pc:spChg chg="add mod">
          <ac:chgData name="Andrew Jenks" userId="4e7ebeef-0c7f-45b3-8ca6-ec73850d6894" providerId="ADAL" clId="{0010C273-2E50-4EF5-BCE8-3EA3BB5F92A4}" dt="2021-02-27T14:14:18.522" v="961" actId="14100"/>
          <ac:spMkLst>
            <pc:docMk/>
            <pc:sldMk cId="3032914064" sldId="277"/>
            <ac:spMk id="21" creationId="{303808DB-593B-4B1D-A466-A0218C98EB63}"/>
          </ac:spMkLst>
        </pc:spChg>
        <pc:spChg chg="add del">
          <ac:chgData name="Andrew Jenks" userId="4e7ebeef-0c7f-45b3-8ca6-ec73850d6894" providerId="ADAL" clId="{0010C273-2E50-4EF5-BCE8-3EA3BB5F92A4}" dt="2021-02-25T18:16:25.724" v="488" actId="478"/>
          <ac:spMkLst>
            <pc:docMk/>
            <pc:sldMk cId="3032914064" sldId="277"/>
            <ac:spMk id="23" creationId="{E74A1FC1-6E00-408F-9329-D3B045A3DCF5}"/>
          </ac:spMkLst>
        </pc:spChg>
        <pc:spChg chg="add del mod">
          <ac:chgData name="Andrew Jenks" userId="4e7ebeef-0c7f-45b3-8ca6-ec73850d6894" providerId="ADAL" clId="{0010C273-2E50-4EF5-BCE8-3EA3BB5F92A4}" dt="2021-02-25T18:22:15.972" v="665" actId="478"/>
          <ac:spMkLst>
            <pc:docMk/>
            <pc:sldMk cId="3032914064" sldId="277"/>
            <ac:spMk id="25" creationId="{5257EBCA-2AD3-4F02-BE60-6EA8017DDC27}"/>
          </ac:spMkLst>
        </pc:spChg>
        <pc:spChg chg="add mod ord">
          <ac:chgData name="Andrew Jenks" userId="4e7ebeef-0c7f-45b3-8ca6-ec73850d6894" providerId="ADAL" clId="{0010C273-2E50-4EF5-BCE8-3EA3BB5F92A4}" dt="2021-02-25T18:23:38.989" v="672" actId="1076"/>
          <ac:spMkLst>
            <pc:docMk/>
            <pc:sldMk cId="3032914064" sldId="277"/>
            <ac:spMk id="26" creationId="{CA49A94E-0C24-4DFB-811E-F72355B9BD9E}"/>
          </ac:spMkLst>
        </pc:spChg>
        <pc:spChg chg="add mod ord">
          <ac:chgData name="Andrew Jenks" userId="4e7ebeef-0c7f-45b3-8ca6-ec73850d6894" providerId="ADAL" clId="{0010C273-2E50-4EF5-BCE8-3EA3BB5F92A4}" dt="2021-02-25T18:29:11.941" v="746" actId="14100"/>
          <ac:spMkLst>
            <pc:docMk/>
            <pc:sldMk cId="3032914064" sldId="277"/>
            <ac:spMk id="28" creationId="{01F7447A-6385-4D65-80C7-584942E7C4ED}"/>
          </ac:spMkLst>
        </pc:spChg>
        <pc:spChg chg="add mod ord topLvl">
          <ac:chgData name="Andrew Jenks" userId="4e7ebeef-0c7f-45b3-8ca6-ec73850d6894" providerId="ADAL" clId="{0010C273-2E50-4EF5-BCE8-3EA3BB5F92A4}" dt="2021-02-25T18:34:13.328" v="779" actId="478"/>
          <ac:spMkLst>
            <pc:docMk/>
            <pc:sldMk cId="3032914064" sldId="277"/>
            <ac:spMk id="30" creationId="{40ECBED7-4D66-49F6-BF3E-C5648F72A81F}"/>
          </ac:spMkLst>
        </pc:spChg>
        <pc:spChg chg="add del mod">
          <ac:chgData name="Andrew Jenks" userId="4e7ebeef-0c7f-45b3-8ca6-ec73850d6894" providerId="ADAL" clId="{0010C273-2E50-4EF5-BCE8-3EA3BB5F92A4}" dt="2021-02-25T18:28:35.977" v="741" actId="478"/>
          <ac:spMkLst>
            <pc:docMk/>
            <pc:sldMk cId="3032914064" sldId="277"/>
            <ac:spMk id="35" creationId="{690B41A6-B1BA-4C0A-AF7F-AA915E8B31F3}"/>
          </ac:spMkLst>
        </pc:spChg>
        <pc:spChg chg="add mod">
          <ac:chgData name="Andrew Jenks" userId="4e7ebeef-0c7f-45b3-8ca6-ec73850d6894" providerId="ADAL" clId="{0010C273-2E50-4EF5-BCE8-3EA3BB5F92A4}" dt="2021-02-25T18:29:27.791" v="748" actId="1076"/>
          <ac:spMkLst>
            <pc:docMk/>
            <pc:sldMk cId="3032914064" sldId="277"/>
            <ac:spMk id="37" creationId="{9335A3DB-C7A7-4B9B-B2F9-11E56502F047}"/>
          </ac:spMkLst>
        </pc:spChg>
        <pc:spChg chg="add mod">
          <ac:chgData name="Andrew Jenks" userId="4e7ebeef-0c7f-45b3-8ca6-ec73850d6894" providerId="ADAL" clId="{0010C273-2E50-4EF5-BCE8-3EA3BB5F92A4}" dt="2021-02-25T18:28:45.099" v="742" actId="1076"/>
          <ac:spMkLst>
            <pc:docMk/>
            <pc:sldMk cId="3032914064" sldId="277"/>
            <ac:spMk id="39" creationId="{33B401BA-C571-433E-92A2-41A61015E552}"/>
          </ac:spMkLst>
        </pc:spChg>
        <pc:grpChg chg="add mod">
          <ac:chgData name="Andrew Jenks" userId="4e7ebeef-0c7f-45b3-8ca6-ec73850d6894" providerId="ADAL" clId="{0010C273-2E50-4EF5-BCE8-3EA3BB5F92A4}" dt="2021-02-25T18:23:38.989" v="672" actId="1076"/>
          <ac:grpSpMkLst>
            <pc:docMk/>
            <pc:sldMk cId="3032914064" sldId="277"/>
            <ac:grpSpMk id="31" creationId="{8B3B22CD-A241-4CF5-A0AE-E902D6747414}"/>
          </ac:grpSpMkLst>
        </pc:grpChg>
        <pc:grpChg chg="add del">
          <ac:chgData name="Andrew Jenks" userId="4e7ebeef-0c7f-45b3-8ca6-ec73850d6894" providerId="ADAL" clId="{0010C273-2E50-4EF5-BCE8-3EA3BB5F92A4}" dt="2021-02-25T18:34:13.328" v="779" actId="478"/>
          <ac:grpSpMkLst>
            <pc:docMk/>
            <pc:sldMk cId="3032914064" sldId="277"/>
            <ac:grpSpMk id="32" creationId="{D1CCD43B-3122-498A-B86C-9CC2523E4827}"/>
          </ac:grpSpMkLst>
        </pc:grpChg>
        <pc:grpChg chg="add mod">
          <ac:chgData name="Andrew Jenks" userId="4e7ebeef-0c7f-45b3-8ca6-ec73850d6894" providerId="ADAL" clId="{0010C273-2E50-4EF5-BCE8-3EA3BB5F92A4}" dt="2021-02-25T18:26:17.183" v="692" actId="1076"/>
          <ac:grpSpMkLst>
            <pc:docMk/>
            <pc:sldMk cId="3032914064" sldId="277"/>
            <ac:grpSpMk id="33" creationId="{B42B8A2F-0A7B-4DCE-AAD4-48B505AC5505}"/>
          </ac:grpSpMkLst>
        </pc:grpChg>
        <pc:picChg chg="add mod">
          <ac:chgData name="Andrew Jenks" userId="4e7ebeef-0c7f-45b3-8ca6-ec73850d6894" providerId="ADAL" clId="{0010C273-2E50-4EF5-BCE8-3EA3BB5F92A4}" dt="2021-02-25T18:23:38.989" v="672" actId="1076"/>
          <ac:picMkLst>
            <pc:docMk/>
            <pc:sldMk cId="3032914064" sldId="277"/>
            <ac:picMk id="5" creationId="{D24BD061-BC6D-4273-A36B-7C217A49E120}"/>
          </ac:picMkLst>
        </pc:picChg>
        <pc:picChg chg="add mod">
          <ac:chgData name="Andrew Jenks" userId="4e7ebeef-0c7f-45b3-8ca6-ec73850d6894" providerId="ADAL" clId="{0010C273-2E50-4EF5-BCE8-3EA3BB5F92A4}" dt="2021-02-25T18:23:38.989" v="672" actId="1076"/>
          <ac:picMkLst>
            <pc:docMk/>
            <pc:sldMk cId="3032914064" sldId="277"/>
            <ac:picMk id="7" creationId="{709A5EAC-C2D4-41EE-B39B-6176345A3AC6}"/>
          </ac:picMkLst>
        </pc:picChg>
        <pc:picChg chg="add del">
          <ac:chgData name="Andrew Jenks" userId="4e7ebeef-0c7f-45b3-8ca6-ec73850d6894" providerId="ADAL" clId="{0010C273-2E50-4EF5-BCE8-3EA3BB5F92A4}" dt="2021-02-25T18:09:54.221" v="323" actId="22"/>
          <ac:picMkLst>
            <pc:docMk/>
            <pc:sldMk cId="3032914064" sldId="277"/>
            <ac:picMk id="9" creationId="{3C955E7A-CABB-4928-999F-9D0CB832F4F2}"/>
          </ac:picMkLst>
        </pc:picChg>
        <pc:picChg chg="add del mod topLvl">
          <ac:chgData name="Andrew Jenks" userId="4e7ebeef-0c7f-45b3-8ca6-ec73850d6894" providerId="ADAL" clId="{0010C273-2E50-4EF5-BCE8-3EA3BB5F92A4}" dt="2021-02-25T18:34:13.328" v="779" actId="478"/>
          <ac:picMkLst>
            <pc:docMk/>
            <pc:sldMk cId="3032914064" sldId="277"/>
            <ac:picMk id="16" creationId="{D6FDE003-E85A-4FFC-B33D-860D0943A73F}"/>
          </ac:picMkLst>
        </pc:picChg>
        <pc:picChg chg="add mod">
          <ac:chgData name="Andrew Jenks" userId="4e7ebeef-0c7f-45b3-8ca6-ec73850d6894" providerId="ADAL" clId="{0010C273-2E50-4EF5-BCE8-3EA3BB5F92A4}" dt="2021-02-25T18:34:35.496" v="784" actId="1076"/>
          <ac:picMkLst>
            <pc:docMk/>
            <pc:sldMk cId="3032914064" sldId="277"/>
            <ac:picMk id="41" creationId="{55F2DDDA-282A-4132-9036-EBE5647F5392}"/>
          </ac:picMkLst>
        </pc:picChg>
      </pc:sldChg>
    </pc:docChg>
  </pc:docChgLst>
  <pc:docChgLst>
    <pc:chgData name="Sarah McGee" userId="c47e0f3e-013e-4d95-ae2d-f3fcb4f9def7" providerId="ADAL" clId="{37B71A4C-5E0B-46E0-B5E4-FE81AEF833B6}"/>
    <pc:docChg chg="undo custSel addSld delSld modSld sldOrd">
      <pc:chgData name="Sarah McGee" userId="c47e0f3e-013e-4d95-ae2d-f3fcb4f9def7" providerId="ADAL" clId="{37B71A4C-5E0B-46E0-B5E4-FE81AEF833B6}" dt="2021-02-23T23:09:30.845" v="1998" actId="20577"/>
      <pc:docMkLst>
        <pc:docMk/>
      </pc:docMkLst>
      <pc:sldChg chg="modSp mod">
        <pc:chgData name="Sarah McGee" userId="c47e0f3e-013e-4d95-ae2d-f3fcb4f9def7" providerId="ADAL" clId="{37B71A4C-5E0B-46E0-B5E4-FE81AEF833B6}" dt="2021-02-23T22:10:39.667" v="69" actId="20577"/>
        <pc:sldMkLst>
          <pc:docMk/>
          <pc:sldMk cId="1719412181" sldId="256"/>
        </pc:sldMkLst>
        <pc:spChg chg="mod">
          <ac:chgData name="Sarah McGee" userId="c47e0f3e-013e-4d95-ae2d-f3fcb4f9def7" providerId="ADAL" clId="{37B71A4C-5E0B-46E0-B5E4-FE81AEF833B6}" dt="2021-02-23T22:10:39.667" v="69" actId="20577"/>
          <ac:spMkLst>
            <pc:docMk/>
            <pc:sldMk cId="1719412181" sldId="256"/>
            <ac:spMk id="2" creationId="{22829B63-94F8-8F4D-A30D-5E6AE468DC2D}"/>
          </ac:spMkLst>
        </pc:spChg>
      </pc:sldChg>
      <pc:sldChg chg="modSp mod">
        <pc:chgData name="Sarah McGee" userId="c47e0f3e-013e-4d95-ae2d-f3fcb4f9def7" providerId="ADAL" clId="{37B71A4C-5E0B-46E0-B5E4-FE81AEF833B6}" dt="2021-02-23T23:08:38.002" v="1917" actId="20577"/>
        <pc:sldMkLst>
          <pc:docMk/>
          <pc:sldMk cId="863221243" sldId="257"/>
        </pc:sldMkLst>
        <pc:spChg chg="mod">
          <ac:chgData name="Sarah McGee" userId="c47e0f3e-013e-4d95-ae2d-f3fcb4f9def7" providerId="ADAL" clId="{37B71A4C-5E0B-46E0-B5E4-FE81AEF833B6}" dt="2021-02-23T22:12:31.016" v="140" actId="20577"/>
          <ac:spMkLst>
            <pc:docMk/>
            <pc:sldMk cId="863221243" sldId="257"/>
            <ac:spMk id="4" creationId="{A98F7D7F-3DCE-AA4C-A607-2924F3FBEB4B}"/>
          </ac:spMkLst>
        </pc:spChg>
        <pc:spChg chg="mod">
          <ac:chgData name="Sarah McGee" userId="c47e0f3e-013e-4d95-ae2d-f3fcb4f9def7" providerId="ADAL" clId="{37B71A4C-5E0B-46E0-B5E4-FE81AEF833B6}" dt="2021-02-23T23:08:38.002" v="1917" actId="20577"/>
          <ac:spMkLst>
            <pc:docMk/>
            <pc:sldMk cId="863221243" sldId="257"/>
            <ac:spMk id="5" creationId="{476C177B-9DC8-8E45-8010-F3162ACE6EB0}"/>
          </ac:spMkLst>
        </pc:spChg>
      </pc:sldChg>
      <pc:sldChg chg="addSp delSp modSp mod">
        <pc:chgData name="Sarah McGee" userId="c47e0f3e-013e-4d95-ae2d-f3fcb4f9def7" providerId="ADAL" clId="{37B71A4C-5E0B-46E0-B5E4-FE81AEF833B6}" dt="2021-02-23T22:35:16.457" v="688" actId="20577"/>
        <pc:sldMkLst>
          <pc:docMk/>
          <pc:sldMk cId="3810901644" sldId="258"/>
        </pc:sldMkLst>
        <pc:spChg chg="add del mod">
          <ac:chgData name="Sarah McGee" userId="c47e0f3e-013e-4d95-ae2d-f3fcb4f9def7" providerId="ADAL" clId="{37B71A4C-5E0B-46E0-B5E4-FE81AEF833B6}" dt="2021-02-23T22:11:38.020" v="87" actId="478"/>
          <ac:spMkLst>
            <pc:docMk/>
            <pc:sldMk cId="3810901644" sldId="258"/>
            <ac:spMk id="3" creationId="{CD00E440-5133-470A-BC01-F8CB37F9B490}"/>
          </ac:spMkLst>
        </pc:spChg>
        <pc:spChg chg="mod">
          <ac:chgData name="Sarah McGee" userId="c47e0f3e-013e-4d95-ae2d-f3fcb4f9def7" providerId="ADAL" clId="{37B71A4C-5E0B-46E0-B5E4-FE81AEF833B6}" dt="2021-02-23T22:35:16.457" v="688" actId="20577"/>
          <ac:spMkLst>
            <pc:docMk/>
            <pc:sldMk cId="3810901644" sldId="258"/>
            <ac:spMk id="7" creationId="{52A07277-83E7-6742-A781-0551DA308326}"/>
          </ac:spMkLst>
        </pc:spChg>
        <pc:spChg chg="del">
          <ac:chgData name="Sarah McGee" userId="c47e0f3e-013e-4d95-ae2d-f3fcb4f9def7" providerId="ADAL" clId="{37B71A4C-5E0B-46E0-B5E4-FE81AEF833B6}" dt="2021-02-23T22:11:34.668" v="86" actId="478"/>
          <ac:spMkLst>
            <pc:docMk/>
            <pc:sldMk cId="3810901644" sldId="258"/>
            <ac:spMk id="8" creationId="{262DA64F-6819-D648-ACF9-0F06A8136816}"/>
          </ac:spMkLst>
        </pc:spChg>
      </pc:sldChg>
      <pc:sldChg chg="del ord">
        <pc:chgData name="Sarah McGee" userId="c47e0f3e-013e-4d95-ae2d-f3fcb4f9def7" providerId="ADAL" clId="{37B71A4C-5E0B-46E0-B5E4-FE81AEF833B6}" dt="2021-02-23T22:51:41.387" v="1282" actId="47"/>
        <pc:sldMkLst>
          <pc:docMk/>
          <pc:sldMk cId="3590433798" sldId="259"/>
        </pc:sldMkLst>
      </pc:sldChg>
      <pc:sldChg chg="addSp delSp modSp mod">
        <pc:chgData name="Sarah McGee" userId="c47e0f3e-013e-4d95-ae2d-f3fcb4f9def7" providerId="ADAL" clId="{37B71A4C-5E0B-46E0-B5E4-FE81AEF833B6}" dt="2021-02-23T23:08:02.570" v="1906" actId="1076"/>
        <pc:sldMkLst>
          <pc:docMk/>
          <pc:sldMk cId="482425454" sldId="260"/>
        </pc:sldMkLst>
        <pc:spChg chg="add mod">
          <ac:chgData name="Sarah McGee" userId="c47e0f3e-013e-4d95-ae2d-f3fcb4f9def7" providerId="ADAL" clId="{37B71A4C-5E0B-46E0-B5E4-FE81AEF833B6}" dt="2021-02-23T23:07:59.647" v="1905" actId="1076"/>
          <ac:spMkLst>
            <pc:docMk/>
            <pc:sldMk cId="482425454" sldId="260"/>
            <ac:spMk id="2" creationId="{5EAAEBE8-018A-4B69-A912-7933E93C9116}"/>
          </ac:spMkLst>
        </pc:spChg>
        <pc:spChg chg="add del">
          <ac:chgData name="Sarah McGee" userId="c47e0f3e-013e-4d95-ae2d-f3fcb4f9def7" providerId="ADAL" clId="{37B71A4C-5E0B-46E0-B5E4-FE81AEF833B6}" dt="2021-02-23T23:07:41.745" v="1865" actId="22"/>
          <ac:spMkLst>
            <pc:docMk/>
            <pc:sldMk cId="482425454" sldId="260"/>
            <ac:spMk id="3" creationId="{4190CED5-160D-4865-AF1D-A8AE4790785C}"/>
          </ac:spMkLst>
        </pc:spChg>
        <pc:spChg chg="mod">
          <ac:chgData name="Sarah McGee" userId="c47e0f3e-013e-4d95-ae2d-f3fcb4f9def7" providerId="ADAL" clId="{37B71A4C-5E0B-46E0-B5E4-FE81AEF833B6}" dt="2021-02-23T23:08:02.570" v="1906" actId="1076"/>
          <ac:spMkLst>
            <pc:docMk/>
            <pc:sldMk cId="482425454" sldId="260"/>
            <ac:spMk id="5" creationId="{F28507A7-49A0-A945-8695-D12D65BBA4A1}"/>
          </ac:spMkLst>
        </pc:spChg>
      </pc:sldChg>
      <pc:sldChg chg="del">
        <pc:chgData name="Sarah McGee" userId="c47e0f3e-013e-4d95-ae2d-f3fcb4f9def7" providerId="ADAL" clId="{37B71A4C-5E0B-46E0-B5E4-FE81AEF833B6}" dt="2021-02-23T23:08:09.805" v="1907" actId="47"/>
        <pc:sldMkLst>
          <pc:docMk/>
          <pc:sldMk cId="2935545930" sldId="261"/>
        </pc:sldMkLst>
      </pc:sldChg>
      <pc:sldChg chg="del">
        <pc:chgData name="Sarah McGee" userId="c47e0f3e-013e-4d95-ae2d-f3fcb4f9def7" providerId="ADAL" clId="{37B71A4C-5E0B-46E0-B5E4-FE81AEF833B6}" dt="2021-02-23T23:08:11.343" v="1908" actId="47"/>
        <pc:sldMkLst>
          <pc:docMk/>
          <pc:sldMk cId="1235286920" sldId="262"/>
        </pc:sldMkLst>
      </pc:sldChg>
      <pc:sldChg chg="del">
        <pc:chgData name="Sarah McGee" userId="c47e0f3e-013e-4d95-ae2d-f3fcb4f9def7" providerId="ADAL" clId="{37B71A4C-5E0B-46E0-B5E4-FE81AEF833B6}" dt="2021-02-23T23:08:11.985" v="1909" actId="47"/>
        <pc:sldMkLst>
          <pc:docMk/>
          <pc:sldMk cId="2675704318" sldId="263"/>
        </pc:sldMkLst>
      </pc:sldChg>
      <pc:sldChg chg="addSp delSp modSp add del mod">
        <pc:chgData name="Sarah McGee" userId="c47e0f3e-013e-4d95-ae2d-f3fcb4f9def7" providerId="ADAL" clId="{37B71A4C-5E0B-46E0-B5E4-FE81AEF833B6}" dt="2021-02-23T22:33:52.901" v="626" actId="47"/>
        <pc:sldMkLst>
          <pc:docMk/>
          <pc:sldMk cId="2254670580" sldId="264"/>
        </pc:sldMkLst>
        <pc:spChg chg="add del mod">
          <ac:chgData name="Sarah McGee" userId="c47e0f3e-013e-4d95-ae2d-f3fcb4f9def7" providerId="ADAL" clId="{37B71A4C-5E0B-46E0-B5E4-FE81AEF833B6}" dt="2021-02-23T22:11:27.937" v="85" actId="478"/>
          <ac:spMkLst>
            <pc:docMk/>
            <pc:sldMk cId="2254670580" sldId="264"/>
            <ac:spMk id="3" creationId="{8CA55AC4-387B-4387-B345-0A15E820201C}"/>
          </ac:spMkLst>
        </pc:spChg>
        <pc:spChg chg="mod">
          <ac:chgData name="Sarah McGee" userId="c47e0f3e-013e-4d95-ae2d-f3fcb4f9def7" providerId="ADAL" clId="{37B71A4C-5E0B-46E0-B5E4-FE81AEF833B6}" dt="2021-02-23T22:24:48.365" v="456" actId="20577"/>
          <ac:spMkLst>
            <pc:docMk/>
            <pc:sldMk cId="2254670580" sldId="264"/>
            <ac:spMk id="7" creationId="{52A07277-83E7-6742-A781-0551DA308326}"/>
          </ac:spMkLst>
        </pc:spChg>
        <pc:spChg chg="del">
          <ac:chgData name="Sarah McGee" userId="c47e0f3e-013e-4d95-ae2d-f3fcb4f9def7" providerId="ADAL" clId="{37B71A4C-5E0B-46E0-B5E4-FE81AEF833B6}" dt="2021-02-23T22:11:25.666" v="84" actId="478"/>
          <ac:spMkLst>
            <pc:docMk/>
            <pc:sldMk cId="2254670580" sldId="264"/>
            <ac:spMk id="8" creationId="{262DA64F-6819-D648-ACF9-0F06A8136816}"/>
          </ac:spMkLst>
        </pc:spChg>
      </pc:sldChg>
      <pc:sldChg chg="addSp delSp modSp add mod ord">
        <pc:chgData name="Sarah McGee" userId="c47e0f3e-013e-4d95-ae2d-f3fcb4f9def7" providerId="ADAL" clId="{37B71A4C-5E0B-46E0-B5E4-FE81AEF833B6}" dt="2021-02-23T22:26:18.838" v="467"/>
        <pc:sldMkLst>
          <pc:docMk/>
          <pc:sldMk cId="1050431883" sldId="265"/>
        </pc:sldMkLst>
        <pc:spChg chg="del mod">
          <ac:chgData name="Sarah McGee" userId="c47e0f3e-013e-4d95-ae2d-f3fcb4f9def7" providerId="ADAL" clId="{37B71A4C-5E0B-46E0-B5E4-FE81AEF833B6}" dt="2021-02-23T22:23:43.341" v="402" actId="478"/>
          <ac:spMkLst>
            <pc:docMk/>
            <pc:sldMk cId="1050431883" sldId="265"/>
            <ac:spMk id="4" creationId="{A98F7D7F-3DCE-AA4C-A607-2924F3FBEB4B}"/>
          </ac:spMkLst>
        </pc:spChg>
        <pc:spChg chg="mod">
          <ac:chgData name="Sarah McGee" userId="c47e0f3e-013e-4d95-ae2d-f3fcb4f9def7" providerId="ADAL" clId="{37B71A4C-5E0B-46E0-B5E4-FE81AEF833B6}" dt="2021-02-23T22:24:10.488" v="412" actId="14100"/>
          <ac:spMkLst>
            <pc:docMk/>
            <pc:sldMk cId="1050431883" sldId="265"/>
            <ac:spMk id="5" creationId="{476C177B-9DC8-8E45-8010-F3162ACE6EB0}"/>
          </ac:spMkLst>
        </pc:spChg>
        <pc:spChg chg="add del mod">
          <ac:chgData name="Sarah McGee" userId="c47e0f3e-013e-4d95-ae2d-f3fcb4f9def7" providerId="ADAL" clId="{37B71A4C-5E0B-46E0-B5E4-FE81AEF833B6}" dt="2021-02-23T22:23:44.428" v="403" actId="478"/>
          <ac:spMkLst>
            <pc:docMk/>
            <pc:sldMk cId="1050431883" sldId="265"/>
            <ac:spMk id="9" creationId="{BACE87ED-ED42-4993-88AF-1ADFD00F93DA}"/>
          </ac:spMkLst>
        </pc:spChg>
        <pc:spChg chg="add del mod">
          <ac:chgData name="Sarah McGee" userId="c47e0f3e-013e-4d95-ae2d-f3fcb4f9def7" providerId="ADAL" clId="{37B71A4C-5E0B-46E0-B5E4-FE81AEF833B6}" dt="2021-02-23T22:26:18.838" v="467"/>
          <ac:spMkLst>
            <pc:docMk/>
            <pc:sldMk cId="1050431883" sldId="265"/>
            <ac:spMk id="10" creationId="{0307B095-AF21-45AA-95A7-C722B4DAF15F}"/>
          </ac:spMkLst>
        </pc:spChg>
        <pc:cxnChg chg="add mod">
          <ac:chgData name="Sarah McGee" userId="c47e0f3e-013e-4d95-ae2d-f3fcb4f9def7" providerId="ADAL" clId="{37B71A4C-5E0B-46E0-B5E4-FE81AEF833B6}" dt="2021-02-23T22:24:10.062" v="411" actId="1076"/>
          <ac:cxnSpMkLst>
            <pc:docMk/>
            <pc:sldMk cId="1050431883" sldId="265"/>
            <ac:cxnSpMk id="2" creationId="{40B6AD9B-0FE8-4F29-9D40-F5F301647B83}"/>
          </ac:cxnSpMkLst>
        </pc:cxnChg>
      </pc:sldChg>
      <pc:sldChg chg="addSp delSp modSp add mod ord modNotesTx">
        <pc:chgData name="Sarah McGee" userId="c47e0f3e-013e-4d95-ae2d-f3fcb4f9def7" providerId="ADAL" clId="{37B71A4C-5E0B-46E0-B5E4-FE81AEF833B6}" dt="2021-02-23T22:27:24.872" v="524" actId="20577"/>
        <pc:sldMkLst>
          <pc:docMk/>
          <pc:sldMk cId="886782244" sldId="266"/>
        </pc:sldMkLst>
        <pc:spChg chg="add del mod">
          <ac:chgData name="Sarah McGee" userId="c47e0f3e-013e-4d95-ae2d-f3fcb4f9def7" providerId="ADAL" clId="{37B71A4C-5E0B-46E0-B5E4-FE81AEF833B6}" dt="2021-02-23T22:25:09.786" v="461" actId="478"/>
          <ac:spMkLst>
            <pc:docMk/>
            <pc:sldMk cId="886782244" sldId="266"/>
            <ac:spMk id="4" creationId="{B9C6715A-02BF-4B45-B088-17FF68CFED63}"/>
          </ac:spMkLst>
        </pc:spChg>
        <pc:spChg chg="del">
          <ac:chgData name="Sarah McGee" userId="c47e0f3e-013e-4d95-ae2d-f3fcb4f9def7" providerId="ADAL" clId="{37B71A4C-5E0B-46E0-B5E4-FE81AEF833B6}" dt="2021-02-23T22:25:07.273" v="460" actId="478"/>
          <ac:spMkLst>
            <pc:docMk/>
            <pc:sldMk cId="886782244" sldId="266"/>
            <ac:spMk id="5" creationId="{476C177B-9DC8-8E45-8010-F3162ACE6EB0}"/>
          </ac:spMkLst>
        </pc:spChg>
        <pc:spChg chg="add mod">
          <ac:chgData name="Sarah McGee" userId="c47e0f3e-013e-4d95-ae2d-f3fcb4f9def7" providerId="ADAL" clId="{37B71A4C-5E0B-46E0-B5E4-FE81AEF833B6}" dt="2021-02-23T22:27:24.872" v="524" actId="20577"/>
          <ac:spMkLst>
            <pc:docMk/>
            <pc:sldMk cId="886782244" sldId="266"/>
            <ac:spMk id="9" creationId="{E900D947-2D67-4694-9E06-E540CCF18D2B}"/>
          </ac:spMkLst>
        </pc:spChg>
        <pc:picChg chg="add mod">
          <ac:chgData name="Sarah McGee" userId="c47e0f3e-013e-4d95-ae2d-f3fcb4f9def7" providerId="ADAL" clId="{37B71A4C-5E0B-46E0-B5E4-FE81AEF833B6}" dt="2021-02-23T22:27:22.318" v="523" actId="1076"/>
          <ac:picMkLst>
            <pc:docMk/>
            <pc:sldMk cId="886782244" sldId="266"/>
            <ac:picMk id="8" creationId="{9F3A2EA9-A5DD-46E9-A20B-001F5799476B}"/>
          </ac:picMkLst>
        </pc:picChg>
        <pc:cxnChg chg="del">
          <ac:chgData name="Sarah McGee" userId="c47e0f3e-013e-4d95-ae2d-f3fcb4f9def7" providerId="ADAL" clId="{37B71A4C-5E0B-46E0-B5E4-FE81AEF833B6}" dt="2021-02-23T22:25:07.273" v="460" actId="478"/>
          <ac:cxnSpMkLst>
            <pc:docMk/>
            <pc:sldMk cId="886782244" sldId="266"/>
            <ac:cxnSpMk id="2" creationId="{40B6AD9B-0FE8-4F29-9D40-F5F301647B83}"/>
          </ac:cxnSpMkLst>
        </pc:cxnChg>
      </pc:sldChg>
      <pc:sldChg chg="modSp add mod ord">
        <pc:chgData name="Sarah McGee" userId="c47e0f3e-013e-4d95-ae2d-f3fcb4f9def7" providerId="ADAL" clId="{37B71A4C-5E0B-46E0-B5E4-FE81AEF833B6}" dt="2021-02-23T22:33:24.003" v="606" actId="20577"/>
        <pc:sldMkLst>
          <pc:docMk/>
          <pc:sldMk cId="404283078" sldId="267"/>
        </pc:sldMkLst>
        <pc:spChg chg="mod">
          <ac:chgData name="Sarah McGee" userId="c47e0f3e-013e-4d95-ae2d-f3fcb4f9def7" providerId="ADAL" clId="{37B71A4C-5E0B-46E0-B5E4-FE81AEF833B6}" dt="2021-02-23T22:33:24.003" v="606" actId="20577"/>
          <ac:spMkLst>
            <pc:docMk/>
            <pc:sldMk cId="404283078" sldId="267"/>
            <ac:spMk id="7" creationId="{52A07277-83E7-6742-A781-0551DA308326}"/>
          </ac:spMkLst>
        </pc:spChg>
      </pc:sldChg>
      <pc:sldChg chg="addSp delSp modSp add mod modNotesTx">
        <pc:chgData name="Sarah McGee" userId="c47e0f3e-013e-4d95-ae2d-f3fcb4f9def7" providerId="ADAL" clId="{37B71A4C-5E0B-46E0-B5E4-FE81AEF833B6}" dt="2021-02-23T22:50:01.744" v="1140"/>
        <pc:sldMkLst>
          <pc:docMk/>
          <pc:sldMk cId="3020297761" sldId="268"/>
        </pc:sldMkLst>
        <pc:spChg chg="mod">
          <ac:chgData name="Sarah McGee" userId="c47e0f3e-013e-4d95-ae2d-f3fcb4f9def7" providerId="ADAL" clId="{37B71A4C-5E0B-46E0-B5E4-FE81AEF833B6}" dt="2021-02-23T22:33:32.289" v="625" actId="20577"/>
          <ac:spMkLst>
            <pc:docMk/>
            <pc:sldMk cId="3020297761" sldId="268"/>
            <ac:spMk id="4" creationId="{A98F7D7F-3DCE-AA4C-A607-2924F3FBEB4B}"/>
          </ac:spMkLst>
        </pc:spChg>
        <pc:spChg chg="mod">
          <ac:chgData name="Sarah McGee" userId="c47e0f3e-013e-4d95-ae2d-f3fcb4f9def7" providerId="ADAL" clId="{37B71A4C-5E0B-46E0-B5E4-FE81AEF833B6}" dt="2021-02-23T22:34:17.774" v="630" actId="1076"/>
          <ac:spMkLst>
            <pc:docMk/>
            <pc:sldMk cId="3020297761" sldId="268"/>
            <ac:spMk id="5" creationId="{476C177B-9DC8-8E45-8010-F3162ACE6EB0}"/>
          </ac:spMkLst>
        </pc:spChg>
        <pc:spChg chg="add del mod">
          <ac:chgData name="Sarah McGee" userId="c47e0f3e-013e-4d95-ae2d-f3fcb4f9def7" providerId="ADAL" clId="{37B71A4C-5E0B-46E0-B5E4-FE81AEF833B6}" dt="2021-02-23T22:50:01.744" v="1140"/>
          <ac:spMkLst>
            <pc:docMk/>
            <pc:sldMk cId="3020297761" sldId="268"/>
            <ac:spMk id="17" creationId="{242D3DA7-14FE-454D-A83D-5609CAD49185}"/>
          </ac:spMkLst>
        </pc:spChg>
        <pc:picChg chg="add mod">
          <ac:chgData name="Sarah McGee" userId="c47e0f3e-013e-4d95-ae2d-f3fcb4f9def7" providerId="ADAL" clId="{37B71A4C-5E0B-46E0-B5E4-FE81AEF833B6}" dt="2021-02-23T22:34:17.774" v="630" actId="1076"/>
          <ac:picMkLst>
            <pc:docMk/>
            <pc:sldMk cId="3020297761" sldId="268"/>
            <ac:picMk id="2" creationId="{B3206E7D-5E57-4BE4-B223-88E119E22678}"/>
          </ac:picMkLst>
        </pc:picChg>
        <pc:picChg chg="add mod">
          <ac:chgData name="Sarah McGee" userId="c47e0f3e-013e-4d95-ae2d-f3fcb4f9def7" providerId="ADAL" clId="{37B71A4C-5E0B-46E0-B5E4-FE81AEF833B6}" dt="2021-02-23T22:34:17.774" v="630" actId="1076"/>
          <ac:picMkLst>
            <pc:docMk/>
            <pc:sldMk cId="3020297761" sldId="268"/>
            <ac:picMk id="3" creationId="{A72C3F34-A0D3-4D18-BF00-4EAE572204C4}"/>
          </ac:picMkLst>
        </pc:picChg>
        <pc:picChg chg="add mod">
          <ac:chgData name="Sarah McGee" userId="c47e0f3e-013e-4d95-ae2d-f3fcb4f9def7" providerId="ADAL" clId="{37B71A4C-5E0B-46E0-B5E4-FE81AEF833B6}" dt="2021-02-23T22:34:17.774" v="630" actId="1076"/>
          <ac:picMkLst>
            <pc:docMk/>
            <pc:sldMk cId="3020297761" sldId="268"/>
            <ac:picMk id="10" creationId="{2383F9D2-875A-4F17-812B-552F71DB84E4}"/>
          </ac:picMkLst>
        </pc:picChg>
        <pc:picChg chg="add mod">
          <ac:chgData name="Sarah McGee" userId="c47e0f3e-013e-4d95-ae2d-f3fcb4f9def7" providerId="ADAL" clId="{37B71A4C-5E0B-46E0-B5E4-FE81AEF833B6}" dt="2021-02-23T22:34:17.774" v="630" actId="1076"/>
          <ac:picMkLst>
            <pc:docMk/>
            <pc:sldMk cId="3020297761" sldId="268"/>
            <ac:picMk id="12" creationId="{6AF92087-2914-49A3-80F8-82B1E98520BF}"/>
          </ac:picMkLst>
        </pc:picChg>
        <pc:picChg chg="add mod">
          <ac:chgData name="Sarah McGee" userId="c47e0f3e-013e-4d95-ae2d-f3fcb4f9def7" providerId="ADAL" clId="{37B71A4C-5E0B-46E0-B5E4-FE81AEF833B6}" dt="2021-02-23T22:34:17.774" v="630" actId="1076"/>
          <ac:picMkLst>
            <pc:docMk/>
            <pc:sldMk cId="3020297761" sldId="268"/>
            <ac:picMk id="14" creationId="{41EAA0CA-F918-43EB-8396-CD15545FEDF0}"/>
          </ac:picMkLst>
        </pc:picChg>
        <pc:picChg chg="add mod">
          <ac:chgData name="Sarah McGee" userId="c47e0f3e-013e-4d95-ae2d-f3fcb4f9def7" providerId="ADAL" clId="{37B71A4C-5E0B-46E0-B5E4-FE81AEF833B6}" dt="2021-02-23T22:34:17.774" v="630" actId="1076"/>
          <ac:picMkLst>
            <pc:docMk/>
            <pc:sldMk cId="3020297761" sldId="268"/>
            <ac:picMk id="16" creationId="{BCAD460A-5A47-4706-BAB1-DA50C5A81F4D}"/>
          </ac:picMkLst>
        </pc:picChg>
      </pc:sldChg>
      <pc:sldChg chg="modSp add mod">
        <pc:chgData name="Sarah McGee" userId="c47e0f3e-013e-4d95-ae2d-f3fcb4f9def7" providerId="ADAL" clId="{37B71A4C-5E0B-46E0-B5E4-FE81AEF833B6}" dt="2021-02-23T22:34:51.602" v="661" actId="20577"/>
        <pc:sldMkLst>
          <pc:docMk/>
          <pc:sldMk cId="1344600433" sldId="269"/>
        </pc:sldMkLst>
        <pc:spChg chg="mod">
          <ac:chgData name="Sarah McGee" userId="c47e0f3e-013e-4d95-ae2d-f3fcb4f9def7" providerId="ADAL" clId="{37B71A4C-5E0B-46E0-B5E4-FE81AEF833B6}" dt="2021-02-23T22:34:51.602" v="661" actId="20577"/>
          <ac:spMkLst>
            <pc:docMk/>
            <pc:sldMk cId="1344600433" sldId="269"/>
            <ac:spMk id="7" creationId="{52A07277-83E7-6742-A781-0551DA308326}"/>
          </ac:spMkLst>
        </pc:spChg>
      </pc:sldChg>
      <pc:sldChg chg="addSp delSp modSp add mod ord modAnim modNotesTx">
        <pc:chgData name="Sarah McGee" userId="c47e0f3e-013e-4d95-ae2d-f3fcb4f9def7" providerId="ADAL" clId="{37B71A4C-5E0B-46E0-B5E4-FE81AEF833B6}" dt="2021-02-23T22:50:41.587" v="1205" actId="20577"/>
        <pc:sldMkLst>
          <pc:docMk/>
          <pc:sldMk cId="792337379" sldId="270"/>
        </pc:sldMkLst>
        <pc:spChg chg="del">
          <ac:chgData name="Sarah McGee" userId="c47e0f3e-013e-4d95-ae2d-f3fcb4f9def7" providerId="ADAL" clId="{37B71A4C-5E0B-46E0-B5E4-FE81AEF833B6}" dt="2021-02-23T22:36:16.588" v="692" actId="478"/>
          <ac:spMkLst>
            <pc:docMk/>
            <pc:sldMk cId="792337379" sldId="270"/>
            <ac:spMk id="4" creationId="{A98F7D7F-3DCE-AA4C-A607-2924F3FBEB4B}"/>
          </ac:spMkLst>
        </pc:spChg>
        <pc:spChg chg="del">
          <ac:chgData name="Sarah McGee" userId="c47e0f3e-013e-4d95-ae2d-f3fcb4f9def7" providerId="ADAL" clId="{37B71A4C-5E0B-46E0-B5E4-FE81AEF833B6}" dt="2021-02-23T22:36:20.239" v="694" actId="478"/>
          <ac:spMkLst>
            <pc:docMk/>
            <pc:sldMk cId="792337379" sldId="270"/>
            <ac:spMk id="5" creationId="{476C177B-9DC8-8E45-8010-F3162ACE6EB0}"/>
          </ac:spMkLst>
        </pc:spChg>
        <pc:spChg chg="add del mod">
          <ac:chgData name="Sarah McGee" userId="c47e0f3e-013e-4d95-ae2d-f3fcb4f9def7" providerId="ADAL" clId="{37B71A4C-5E0B-46E0-B5E4-FE81AEF833B6}" dt="2021-02-23T22:36:17.950" v="693" actId="478"/>
          <ac:spMkLst>
            <pc:docMk/>
            <pc:sldMk cId="792337379" sldId="270"/>
            <ac:spMk id="8" creationId="{94116A1A-E303-4C1B-AD89-BE126801ECE3}"/>
          </ac:spMkLst>
        </pc:spChg>
        <pc:spChg chg="add del mod">
          <ac:chgData name="Sarah McGee" userId="c47e0f3e-013e-4d95-ae2d-f3fcb4f9def7" providerId="ADAL" clId="{37B71A4C-5E0B-46E0-B5E4-FE81AEF833B6}" dt="2021-02-23T22:36:22.361" v="695" actId="478"/>
          <ac:spMkLst>
            <pc:docMk/>
            <pc:sldMk cId="792337379" sldId="270"/>
            <ac:spMk id="11" creationId="{3245FF47-EE2C-4623-B71A-2702BA43F514}"/>
          </ac:spMkLst>
        </pc:spChg>
        <pc:spChg chg="add del">
          <ac:chgData name="Sarah McGee" userId="c47e0f3e-013e-4d95-ae2d-f3fcb4f9def7" providerId="ADAL" clId="{37B71A4C-5E0B-46E0-B5E4-FE81AEF833B6}" dt="2021-02-23T22:36:46.665" v="697" actId="478"/>
          <ac:spMkLst>
            <pc:docMk/>
            <pc:sldMk cId="792337379" sldId="270"/>
            <ac:spMk id="13" creationId="{1A90C911-FAAA-45DA-9BC8-CA1CA7B90452}"/>
          </ac:spMkLst>
        </pc:spChg>
        <pc:spChg chg="add mod ord">
          <ac:chgData name="Sarah McGee" userId="c47e0f3e-013e-4d95-ae2d-f3fcb4f9def7" providerId="ADAL" clId="{37B71A4C-5E0B-46E0-B5E4-FE81AEF833B6}" dt="2021-02-23T22:44:24.777" v="816" actId="1076"/>
          <ac:spMkLst>
            <pc:docMk/>
            <pc:sldMk cId="792337379" sldId="270"/>
            <ac:spMk id="65" creationId="{A3047D48-CA24-43FE-B08E-53B463F02A57}"/>
          </ac:spMkLst>
        </pc:spChg>
        <pc:spChg chg="add mod ord">
          <ac:chgData name="Sarah McGee" userId="c47e0f3e-013e-4d95-ae2d-f3fcb4f9def7" providerId="ADAL" clId="{37B71A4C-5E0B-46E0-B5E4-FE81AEF833B6}" dt="2021-02-23T22:44:24.777" v="816" actId="1076"/>
          <ac:spMkLst>
            <pc:docMk/>
            <pc:sldMk cId="792337379" sldId="270"/>
            <ac:spMk id="66" creationId="{FFD2EA3C-10B0-4059-AF21-AE8E83EBEEF6}"/>
          </ac:spMkLst>
        </pc:spChg>
        <pc:spChg chg="add mod">
          <ac:chgData name="Sarah McGee" userId="c47e0f3e-013e-4d95-ae2d-f3fcb4f9def7" providerId="ADAL" clId="{37B71A4C-5E0B-46E0-B5E4-FE81AEF833B6}" dt="2021-02-23T22:44:24.777" v="816" actId="1076"/>
          <ac:spMkLst>
            <pc:docMk/>
            <pc:sldMk cId="792337379" sldId="270"/>
            <ac:spMk id="68" creationId="{BFFA3B0F-8852-4ABF-B513-09DF83B739CC}"/>
          </ac:spMkLst>
        </pc:spChg>
        <pc:spChg chg="add mod">
          <ac:chgData name="Sarah McGee" userId="c47e0f3e-013e-4d95-ae2d-f3fcb4f9def7" providerId="ADAL" clId="{37B71A4C-5E0B-46E0-B5E4-FE81AEF833B6}" dt="2021-02-23T22:44:24.777" v="816" actId="1076"/>
          <ac:spMkLst>
            <pc:docMk/>
            <pc:sldMk cId="792337379" sldId="270"/>
            <ac:spMk id="70" creationId="{36F9CBB0-269F-4D20-A188-337CB762F885}"/>
          </ac:spMkLst>
        </pc:spChg>
        <pc:spChg chg="add mod">
          <ac:chgData name="Sarah McGee" userId="c47e0f3e-013e-4d95-ae2d-f3fcb4f9def7" providerId="ADAL" clId="{37B71A4C-5E0B-46E0-B5E4-FE81AEF833B6}" dt="2021-02-23T22:50:41.587" v="1205" actId="20577"/>
          <ac:spMkLst>
            <pc:docMk/>
            <pc:sldMk cId="792337379" sldId="270"/>
            <ac:spMk id="71" creationId="{B1049109-6557-4048-8D5D-5B7B1E00E98C}"/>
          </ac:spMkLst>
        </pc:spChg>
        <pc:picChg chg="del">
          <ac:chgData name="Sarah McGee" userId="c47e0f3e-013e-4d95-ae2d-f3fcb4f9def7" providerId="ADAL" clId="{37B71A4C-5E0B-46E0-B5E4-FE81AEF833B6}" dt="2021-02-23T22:36:20.239" v="694" actId="478"/>
          <ac:picMkLst>
            <pc:docMk/>
            <pc:sldMk cId="792337379" sldId="270"/>
            <ac:picMk id="2" creationId="{B3206E7D-5E57-4BE4-B223-88E119E22678}"/>
          </ac:picMkLst>
        </pc:picChg>
        <pc:picChg chg="del">
          <ac:chgData name="Sarah McGee" userId="c47e0f3e-013e-4d95-ae2d-f3fcb4f9def7" providerId="ADAL" clId="{37B71A4C-5E0B-46E0-B5E4-FE81AEF833B6}" dt="2021-02-23T22:36:20.239" v="694" actId="478"/>
          <ac:picMkLst>
            <pc:docMk/>
            <pc:sldMk cId="792337379" sldId="270"/>
            <ac:picMk id="3" creationId="{A72C3F34-A0D3-4D18-BF00-4EAE572204C4}"/>
          </ac:picMkLst>
        </pc:picChg>
        <pc:picChg chg="del">
          <ac:chgData name="Sarah McGee" userId="c47e0f3e-013e-4d95-ae2d-f3fcb4f9def7" providerId="ADAL" clId="{37B71A4C-5E0B-46E0-B5E4-FE81AEF833B6}" dt="2021-02-23T22:36:20.239" v="694" actId="478"/>
          <ac:picMkLst>
            <pc:docMk/>
            <pc:sldMk cId="792337379" sldId="270"/>
            <ac:picMk id="10" creationId="{2383F9D2-875A-4F17-812B-552F71DB84E4}"/>
          </ac:picMkLst>
        </pc:picChg>
        <pc:picChg chg="del">
          <ac:chgData name="Sarah McGee" userId="c47e0f3e-013e-4d95-ae2d-f3fcb4f9def7" providerId="ADAL" clId="{37B71A4C-5E0B-46E0-B5E4-FE81AEF833B6}" dt="2021-02-23T22:36:20.239" v="694" actId="478"/>
          <ac:picMkLst>
            <pc:docMk/>
            <pc:sldMk cId="792337379" sldId="270"/>
            <ac:picMk id="12" creationId="{6AF92087-2914-49A3-80F8-82B1E98520BF}"/>
          </ac:picMkLst>
        </pc:picChg>
        <pc:picChg chg="del">
          <ac:chgData name="Sarah McGee" userId="c47e0f3e-013e-4d95-ae2d-f3fcb4f9def7" providerId="ADAL" clId="{37B71A4C-5E0B-46E0-B5E4-FE81AEF833B6}" dt="2021-02-23T22:36:20.239" v="694" actId="478"/>
          <ac:picMkLst>
            <pc:docMk/>
            <pc:sldMk cId="792337379" sldId="270"/>
            <ac:picMk id="14" creationId="{41EAA0CA-F918-43EB-8396-CD15545FEDF0}"/>
          </ac:picMkLst>
        </pc:picChg>
        <pc:picChg chg="del">
          <ac:chgData name="Sarah McGee" userId="c47e0f3e-013e-4d95-ae2d-f3fcb4f9def7" providerId="ADAL" clId="{37B71A4C-5E0B-46E0-B5E4-FE81AEF833B6}" dt="2021-02-23T22:36:20.239" v="694" actId="478"/>
          <ac:picMkLst>
            <pc:docMk/>
            <pc:sldMk cId="792337379" sldId="270"/>
            <ac:picMk id="16" creationId="{BCAD460A-5A47-4706-BAB1-DA50C5A81F4D}"/>
          </ac:picMkLst>
        </pc:picChg>
        <pc:picChg chg="add mod">
          <ac:chgData name="Sarah McGee" userId="c47e0f3e-013e-4d95-ae2d-f3fcb4f9def7" providerId="ADAL" clId="{37B71A4C-5E0B-46E0-B5E4-FE81AEF833B6}" dt="2021-02-23T22:44:24.777" v="816" actId="1076"/>
          <ac:picMkLst>
            <pc:docMk/>
            <pc:sldMk cId="792337379" sldId="270"/>
            <ac:picMk id="20" creationId="{F586ACAF-1594-45E5-AC03-CD2231915AE2}"/>
          </ac:picMkLst>
        </pc:picChg>
        <pc:picChg chg="add mod">
          <ac:chgData name="Sarah McGee" userId="c47e0f3e-013e-4d95-ae2d-f3fcb4f9def7" providerId="ADAL" clId="{37B71A4C-5E0B-46E0-B5E4-FE81AEF833B6}" dt="2021-02-23T22:44:24.777" v="816" actId="1076"/>
          <ac:picMkLst>
            <pc:docMk/>
            <pc:sldMk cId="792337379" sldId="270"/>
            <ac:picMk id="22" creationId="{C291BC23-4FE6-4D0E-9C38-4A70323FD335}"/>
          </ac:picMkLst>
        </pc:picChg>
        <pc:picChg chg="add del">
          <ac:chgData name="Sarah McGee" userId="c47e0f3e-013e-4d95-ae2d-f3fcb4f9def7" providerId="ADAL" clId="{37B71A4C-5E0B-46E0-B5E4-FE81AEF833B6}" dt="2021-02-23T22:36:46.665" v="697" actId="478"/>
          <ac:picMkLst>
            <pc:docMk/>
            <pc:sldMk cId="792337379" sldId="270"/>
            <ac:picMk id="24" creationId="{069B1738-CE43-49F4-82F4-22A072B5FDEC}"/>
          </ac:picMkLst>
        </pc:picChg>
        <pc:picChg chg="add del">
          <ac:chgData name="Sarah McGee" userId="c47e0f3e-013e-4d95-ae2d-f3fcb4f9def7" providerId="ADAL" clId="{37B71A4C-5E0B-46E0-B5E4-FE81AEF833B6}" dt="2021-02-23T22:36:46.665" v="697" actId="478"/>
          <ac:picMkLst>
            <pc:docMk/>
            <pc:sldMk cId="792337379" sldId="270"/>
            <ac:picMk id="26" creationId="{C759EF02-9889-4437-9379-9380BB3B43A0}"/>
          </ac:picMkLst>
        </pc:picChg>
        <pc:picChg chg="add del">
          <ac:chgData name="Sarah McGee" userId="c47e0f3e-013e-4d95-ae2d-f3fcb4f9def7" providerId="ADAL" clId="{37B71A4C-5E0B-46E0-B5E4-FE81AEF833B6}" dt="2021-02-23T22:36:46.665" v="697" actId="478"/>
          <ac:picMkLst>
            <pc:docMk/>
            <pc:sldMk cId="792337379" sldId="270"/>
            <ac:picMk id="28" creationId="{ECD5F243-E245-4AC1-9C74-74BB70C8758B}"/>
          </ac:picMkLst>
        </pc:picChg>
        <pc:picChg chg="add del">
          <ac:chgData name="Sarah McGee" userId="c47e0f3e-013e-4d95-ae2d-f3fcb4f9def7" providerId="ADAL" clId="{37B71A4C-5E0B-46E0-B5E4-FE81AEF833B6}" dt="2021-02-23T22:36:46.665" v="697" actId="478"/>
          <ac:picMkLst>
            <pc:docMk/>
            <pc:sldMk cId="792337379" sldId="270"/>
            <ac:picMk id="30" creationId="{201A5136-0A4B-4466-8E5B-EB2D1657D6DD}"/>
          </ac:picMkLst>
        </pc:picChg>
        <pc:picChg chg="add del">
          <ac:chgData name="Sarah McGee" userId="c47e0f3e-013e-4d95-ae2d-f3fcb4f9def7" providerId="ADAL" clId="{37B71A4C-5E0B-46E0-B5E4-FE81AEF833B6}" dt="2021-02-23T22:36:46.665" v="697" actId="478"/>
          <ac:picMkLst>
            <pc:docMk/>
            <pc:sldMk cId="792337379" sldId="270"/>
            <ac:picMk id="32" creationId="{70765DA9-EECC-4E21-B19E-82597800E464}"/>
          </ac:picMkLst>
        </pc:picChg>
        <pc:picChg chg="add del">
          <ac:chgData name="Sarah McGee" userId="c47e0f3e-013e-4d95-ae2d-f3fcb4f9def7" providerId="ADAL" clId="{37B71A4C-5E0B-46E0-B5E4-FE81AEF833B6}" dt="2021-02-23T22:36:46.665" v="697" actId="478"/>
          <ac:picMkLst>
            <pc:docMk/>
            <pc:sldMk cId="792337379" sldId="270"/>
            <ac:picMk id="34" creationId="{71236B20-49B1-41F9-8902-685CF1D027E3}"/>
          </ac:picMkLst>
        </pc:picChg>
        <pc:picChg chg="add del">
          <ac:chgData name="Sarah McGee" userId="c47e0f3e-013e-4d95-ae2d-f3fcb4f9def7" providerId="ADAL" clId="{37B71A4C-5E0B-46E0-B5E4-FE81AEF833B6}" dt="2021-02-23T22:36:46.665" v="697" actId="478"/>
          <ac:picMkLst>
            <pc:docMk/>
            <pc:sldMk cId="792337379" sldId="270"/>
            <ac:picMk id="38" creationId="{243C3789-A714-4B2C-9657-954A8EA415B0}"/>
          </ac:picMkLst>
        </pc:picChg>
        <pc:picChg chg="add del">
          <ac:chgData name="Sarah McGee" userId="c47e0f3e-013e-4d95-ae2d-f3fcb4f9def7" providerId="ADAL" clId="{37B71A4C-5E0B-46E0-B5E4-FE81AEF833B6}" dt="2021-02-23T22:36:46.665" v="697" actId="478"/>
          <ac:picMkLst>
            <pc:docMk/>
            <pc:sldMk cId="792337379" sldId="270"/>
            <ac:picMk id="40" creationId="{B8A6F8FA-B737-450D-AADE-DB4553DBFE91}"/>
          </ac:picMkLst>
        </pc:picChg>
        <pc:picChg chg="add del">
          <ac:chgData name="Sarah McGee" userId="c47e0f3e-013e-4d95-ae2d-f3fcb4f9def7" providerId="ADAL" clId="{37B71A4C-5E0B-46E0-B5E4-FE81AEF833B6}" dt="2021-02-23T22:36:46.665" v="697" actId="478"/>
          <ac:picMkLst>
            <pc:docMk/>
            <pc:sldMk cId="792337379" sldId="270"/>
            <ac:picMk id="42" creationId="{E094FD67-E98F-4E44-A5DB-A971D849720F}"/>
          </ac:picMkLst>
        </pc:picChg>
        <pc:picChg chg="add del">
          <ac:chgData name="Sarah McGee" userId="c47e0f3e-013e-4d95-ae2d-f3fcb4f9def7" providerId="ADAL" clId="{37B71A4C-5E0B-46E0-B5E4-FE81AEF833B6}" dt="2021-02-23T22:36:46.665" v="697" actId="478"/>
          <ac:picMkLst>
            <pc:docMk/>
            <pc:sldMk cId="792337379" sldId="270"/>
            <ac:picMk id="44" creationId="{AE867B31-76AA-48C9-BFA8-7A62281DDBB4}"/>
          </ac:picMkLst>
        </pc:picChg>
        <pc:picChg chg="add del">
          <ac:chgData name="Sarah McGee" userId="c47e0f3e-013e-4d95-ae2d-f3fcb4f9def7" providerId="ADAL" clId="{37B71A4C-5E0B-46E0-B5E4-FE81AEF833B6}" dt="2021-02-23T22:36:46.665" v="697" actId="478"/>
          <ac:picMkLst>
            <pc:docMk/>
            <pc:sldMk cId="792337379" sldId="270"/>
            <ac:picMk id="46" creationId="{9D67D3B3-74EB-43CA-B06E-4806FA1F5B8F}"/>
          </ac:picMkLst>
        </pc:picChg>
        <pc:picChg chg="add del">
          <ac:chgData name="Sarah McGee" userId="c47e0f3e-013e-4d95-ae2d-f3fcb4f9def7" providerId="ADAL" clId="{37B71A4C-5E0B-46E0-B5E4-FE81AEF833B6}" dt="2021-02-23T22:36:46.665" v="697" actId="478"/>
          <ac:picMkLst>
            <pc:docMk/>
            <pc:sldMk cId="792337379" sldId="270"/>
            <ac:picMk id="48" creationId="{AFFC8EE3-BA01-495C-8750-D825B1823D8D}"/>
          </ac:picMkLst>
        </pc:picChg>
        <pc:picChg chg="add del">
          <ac:chgData name="Sarah McGee" userId="c47e0f3e-013e-4d95-ae2d-f3fcb4f9def7" providerId="ADAL" clId="{37B71A4C-5E0B-46E0-B5E4-FE81AEF833B6}" dt="2021-02-23T22:36:46.665" v="697" actId="478"/>
          <ac:picMkLst>
            <pc:docMk/>
            <pc:sldMk cId="792337379" sldId="270"/>
            <ac:picMk id="50" creationId="{EFDDAECB-23B7-49A2-AC1C-CE0F20FCB4CE}"/>
          </ac:picMkLst>
        </pc:picChg>
        <pc:picChg chg="add del">
          <ac:chgData name="Sarah McGee" userId="c47e0f3e-013e-4d95-ae2d-f3fcb4f9def7" providerId="ADAL" clId="{37B71A4C-5E0B-46E0-B5E4-FE81AEF833B6}" dt="2021-02-23T22:36:46.665" v="697" actId="478"/>
          <ac:picMkLst>
            <pc:docMk/>
            <pc:sldMk cId="792337379" sldId="270"/>
            <ac:picMk id="52" creationId="{46DF950F-C439-4F42-B9FC-7E0593085EB8}"/>
          </ac:picMkLst>
        </pc:picChg>
        <pc:picChg chg="add del">
          <ac:chgData name="Sarah McGee" userId="c47e0f3e-013e-4d95-ae2d-f3fcb4f9def7" providerId="ADAL" clId="{37B71A4C-5E0B-46E0-B5E4-FE81AEF833B6}" dt="2021-02-23T22:36:46.665" v="697" actId="478"/>
          <ac:picMkLst>
            <pc:docMk/>
            <pc:sldMk cId="792337379" sldId="270"/>
            <ac:picMk id="54" creationId="{539BD192-7295-4EF6-A441-DE25CE9805F1}"/>
          </ac:picMkLst>
        </pc:picChg>
        <pc:picChg chg="add del">
          <ac:chgData name="Sarah McGee" userId="c47e0f3e-013e-4d95-ae2d-f3fcb4f9def7" providerId="ADAL" clId="{37B71A4C-5E0B-46E0-B5E4-FE81AEF833B6}" dt="2021-02-23T22:36:46.665" v="697" actId="478"/>
          <ac:picMkLst>
            <pc:docMk/>
            <pc:sldMk cId="792337379" sldId="270"/>
            <ac:picMk id="56" creationId="{06EB5678-D26F-4778-A59C-A6E19119A144}"/>
          </ac:picMkLst>
        </pc:picChg>
        <pc:picChg chg="add del">
          <ac:chgData name="Sarah McGee" userId="c47e0f3e-013e-4d95-ae2d-f3fcb4f9def7" providerId="ADAL" clId="{37B71A4C-5E0B-46E0-B5E4-FE81AEF833B6}" dt="2021-02-23T22:36:46.665" v="697" actId="478"/>
          <ac:picMkLst>
            <pc:docMk/>
            <pc:sldMk cId="792337379" sldId="270"/>
            <ac:picMk id="58" creationId="{218F5756-D765-4C20-8E01-D1879B3E9D05}"/>
          </ac:picMkLst>
        </pc:picChg>
        <pc:picChg chg="add del">
          <ac:chgData name="Sarah McGee" userId="c47e0f3e-013e-4d95-ae2d-f3fcb4f9def7" providerId="ADAL" clId="{37B71A4C-5E0B-46E0-B5E4-FE81AEF833B6}" dt="2021-02-23T22:36:46.665" v="697" actId="478"/>
          <ac:picMkLst>
            <pc:docMk/>
            <pc:sldMk cId="792337379" sldId="270"/>
            <ac:picMk id="60" creationId="{E5E186BA-87CE-4894-8384-FF2735CB6611}"/>
          </ac:picMkLst>
        </pc:picChg>
        <pc:picChg chg="add del">
          <ac:chgData name="Sarah McGee" userId="c47e0f3e-013e-4d95-ae2d-f3fcb4f9def7" providerId="ADAL" clId="{37B71A4C-5E0B-46E0-B5E4-FE81AEF833B6}" dt="2021-02-23T22:36:46.665" v="697" actId="478"/>
          <ac:picMkLst>
            <pc:docMk/>
            <pc:sldMk cId="792337379" sldId="270"/>
            <ac:picMk id="62" creationId="{4947DD78-F13C-4572-97B3-8C913F9A1254}"/>
          </ac:picMkLst>
        </pc:picChg>
        <pc:picChg chg="add del">
          <ac:chgData name="Sarah McGee" userId="c47e0f3e-013e-4d95-ae2d-f3fcb4f9def7" providerId="ADAL" clId="{37B71A4C-5E0B-46E0-B5E4-FE81AEF833B6}" dt="2021-02-23T22:36:46.665" v="697" actId="478"/>
          <ac:picMkLst>
            <pc:docMk/>
            <pc:sldMk cId="792337379" sldId="270"/>
            <ac:picMk id="64" creationId="{EA19E7D3-1D89-4160-9CEE-98B2395296C8}"/>
          </ac:picMkLst>
        </pc:picChg>
        <pc:cxnChg chg="add del mod">
          <ac:chgData name="Sarah McGee" userId="c47e0f3e-013e-4d95-ae2d-f3fcb4f9def7" providerId="ADAL" clId="{37B71A4C-5E0B-46E0-B5E4-FE81AEF833B6}" dt="2021-02-23T22:36:48.402" v="698" actId="478"/>
          <ac:cxnSpMkLst>
            <pc:docMk/>
            <pc:sldMk cId="792337379" sldId="270"/>
            <ac:cxnSpMk id="18" creationId="{55FBF657-E1F8-40D0-85CB-AFF7F85B96AA}"/>
          </ac:cxnSpMkLst>
        </pc:cxnChg>
        <pc:cxnChg chg="add del mod">
          <ac:chgData name="Sarah McGee" userId="c47e0f3e-013e-4d95-ae2d-f3fcb4f9def7" providerId="ADAL" clId="{37B71A4C-5E0B-46E0-B5E4-FE81AEF833B6}" dt="2021-02-23T22:36:46.665" v="697" actId="478"/>
          <ac:cxnSpMkLst>
            <pc:docMk/>
            <pc:sldMk cId="792337379" sldId="270"/>
            <ac:cxnSpMk id="36" creationId="{C83710BB-C24C-4162-8D03-89C8C7979CBD}"/>
          </ac:cxnSpMkLst>
        </pc:cxnChg>
      </pc:sldChg>
      <pc:sldChg chg="addSp delSp modSp add mod modAnim modNotesTx">
        <pc:chgData name="Sarah McGee" userId="c47e0f3e-013e-4d95-ae2d-f3fcb4f9def7" providerId="ADAL" clId="{37B71A4C-5E0B-46E0-B5E4-FE81AEF833B6}" dt="2021-02-23T22:50:52.238" v="1222" actId="20577"/>
        <pc:sldMkLst>
          <pc:docMk/>
          <pc:sldMk cId="1571350143" sldId="271"/>
        </pc:sldMkLst>
        <pc:spChg chg="add mod">
          <ac:chgData name="Sarah McGee" userId="c47e0f3e-013e-4d95-ae2d-f3fcb4f9def7" providerId="ADAL" clId="{37B71A4C-5E0B-46E0-B5E4-FE81AEF833B6}" dt="2021-02-23T22:48:22.250" v="1127" actId="1076"/>
          <ac:spMkLst>
            <pc:docMk/>
            <pc:sldMk cId="1571350143" sldId="271"/>
            <ac:spMk id="2" creationId="{0AFA14A4-9D7F-4D41-AA44-1505BC66C4CC}"/>
          </ac:spMkLst>
        </pc:spChg>
        <pc:spChg chg="add mod">
          <ac:chgData name="Sarah McGee" userId="c47e0f3e-013e-4d95-ae2d-f3fcb4f9def7" providerId="ADAL" clId="{37B71A4C-5E0B-46E0-B5E4-FE81AEF833B6}" dt="2021-02-23T22:48:33.774" v="1130" actId="1076"/>
          <ac:spMkLst>
            <pc:docMk/>
            <pc:sldMk cId="1571350143" sldId="271"/>
            <ac:spMk id="3" creationId="{51A75730-4110-4792-B20B-67CA6C6606F2}"/>
          </ac:spMkLst>
        </pc:spChg>
        <pc:spChg chg="add mod">
          <ac:chgData name="Sarah McGee" userId="c47e0f3e-013e-4d95-ae2d-f3fcb4f9def7" providerId="ADAL" clId="{37B71A4C-5E0B-46E0-B5E4-FE81AEF833B6}" dt="2021-02-23T22:48:46.626" v="1133" actId="1076"/>
          <ac:spMkLst>
            <pc:docMk/>
            <pc:sldMk cId="1571350143" sldId="271"/>
            <ac:spMk id="4" creationId="{5BD527FB-79E1-4D70-9904-F9FF286621B2}"/>
          </ac:spMkLst>
        </pc:spChg>
        <pc:spChg chg="add mod">
          <ac:chgData name="Sarah McGee" userId="c47e0f3e-013e-4d95-ae2d-f3fcb4f9def7" providerId="ADAL" clId="{37B71A4C-5E0B-46E0-B5E4-FE81AEF833B6}" dt="2021-02-23T22:49:44.372" v="1136" actId="208"/>
          <ac:spMkLst>
            <pc:docMk/>
            <pc:sldMk cId="1571350143" sldId="271"/>
            <ac:spMk id="5" creationId="{A970A6BE-6CF5-44FA-9FE8-345E3D7C561E}"/>
          </ac:spMkLst>
        </pc:spChg>
        <pc:spChg chg="add mod">
          <ac:chgData name="Sarah McGee" userId="c47e0f3e-013e-4d95-ae2d-f3fcb4f9def7" providerId="ADAL" clId="{37B71A4C-5E0B-46E0-B5E4-FE81AEF833B6}" dt="2021-02-23T22:49:52.646" v="1138" actId="1076"/>
          <ac:spMkLst>
            <pc:docMk/>
            <pc:sldMk cId="1571350143" sldId="271"/>
            <ac:spMk id="7" creationId="{DF5BB863-3985-461E-9283-B429659D9D7C}"/>
          </ac:spMkLst>
        </pc:spChg>
        <pc:spChg chg="add mod">
          <ac:chgData name="Sarah McGee" userId="c47e0f3e-013e-4d95-ae2d-f3fcb4f9def7" providerId="ADAL" clId="{37B71A4C-5E0B-46E0-B5E4-FE81AEF833B6}" dt="2021-02-23T22:50:48.900" v="1221" actId="20577"/>
          <ac:spMkLst>
            <pc:docMk/>
            <pc:sldMk cId="1571350143" sldId="271"/>
            <ac:spMk id="19" creationId="{99EE6F6C-27EC-41CB-B767-C843FA3EAD80}"/>
          </ac:spMkLst>
        </pc:spChg>
        <pc:spChg chg="del">
          <ac:chgData name="Sarah McGee" userId="c47e0f3e-013e-4d95-ae2d-f3fcb4f9def7" providerId="ADAL" clId="{37B71A4C-5E0B-46E0-B5E4-FE81AEF833B6}" dt="2021-02-23T22:44:54.022" v="818" actId="478"/>
          <ac:spMkLst>
            <pc:docMk/>
            <pc:sldMk cId="1571350143" sldId="271"/>
            <ac:spMk id="65" creationId="{A3047D48-CA24-43FE-B08E-53B463F02A57}"/>
          </ac:spMkLst>
        </pc:spChg>
        <pc:spChg chg="del">
          <ac:chgData name="Sarah McGee" userId="c47e0f3e-013e-4d95-ae2d-f3fcb4f9def7" providerId="ADAL" clId="{37B71A4C-5E0B-46E0-B5E4-FE81AEF833B6}" dt="2021-02-23T22:44:54.022" v="818" actId="478"/>
          <ac:spMkLst>
            <pc:docMk/>
            <pc:sldMk cId="1571350143" sldId="271"/>
            <ac:spMk id="66" creationId="{FFD2EA3C-10B0-4059-AF21-AE8E83EBEEF6}"/>
          </ac:spMkLst>
        </pc:spChg>
        <pc:spChg chg="del">
          <ac:chgData name="Sarah McGee" userId="c47e0f3e-013e-4d95-ae2d-f3fcb4f9def7" providerId="ADAL" clId="{37B71A4C-5E0B-46E0-B5E4-FE81AEF833B6}" dt="2021-02-23T22:44:54.022" v="818" actId="478"/>
          <ac:spMkLst>
            <pc:docMk/>
            <pc:sldMk cId="1571350143" sldId="271"/>
            <ac:spMk id="68" creationId="{BFFA3B0F-8852-4ABF-B513-09DF83B739CC}"/>
          </ac:spMkLst>
        </pc:spChg>
        <pc:spChg chg="del">
          <ac:chgData name="Sarah McGee" userId="c47e0f3e-013e-4d95-ae2d-f3fcb4f9def7" providerId="ADAL" clId="{37B71A4C-5E0B-46E0-B5E4-FE81AEF833B6}" dt="2021-02-23T22:44:54.022" v="818" actId="478"/>
          <ac:spMkLst>
            <pc:docMk/>
            <pc:sldMk cId="1571350143" sldId="271"/>
            <ac:spMk id="70" creationId="{36F9CBB0-269F-4D20-A188-337CB762F885}"/>
          </ac:spMkLst>
        </pc:spChg>
        <pc:picChg chg="del">
          <ac:chgData name="Sarah McGee" userId="c47e0f3e-013e-4d95-ae2d-f3fcb4f9def7" providerId="ADAL" clId="{37B71A4C-5E0B-46E0-B5E4-FE81AEF833B6}" dt="2021-02-23T22:44:54.022" v="818" actId="478"/>
          <ac:picMkLst>
            <pc:docMk/>
            <pc:sldMk cId="1571350143" sldId="271"/>
            <ac:picMk id="20" creationId="{F586ACAF-1594-45E5-AC03-CD2231915AE2}"/>
          </ac:picMkLst>
        </pc:picChg>
        <pc:picChg chg="del">
          <ac:chgData name="Sarah McGee" userId="c47e0f3e-013e-4d95-ae2d-f3fcb4f9def7" providerId="ADAL" clId="{37B71A4C-5E0B-46E0-B5E4-FE81AEF833B6}" dt="2021-02-23T22:44:54.022" v="818" actId="478"/>
          <ac:picMkLst>
            <pc:docMk/>
            <pc:sldMk cId="1571350143" sldId="271"/>
            <ac:picMk id="22" creationId="{C291BC23-4FE6-4D0E-9C38-4A70323FD335}"/>
          </ac:picMkLst>
        </pc:picChg>
      </pc:sldChg>
      <pc:sldChg chg="modSp add mod ord">
        <pc:chgData name="Sarah McGee" userId="c47e0f3e-013e-4d95-ae2d-f3fcb4f9def7" providerId="ADAL" clId="{37B71A4C-5E0B-46E0-B5E4-FE81AEF833B6}" dt="2021-02-23T22:51:54.170" v="1293" actId="20577"/>
        <pc:sldMkLst>
          <pc:docMk/>
          <pc:sldMk cId="2226325256" sldId="272"/>
        </pc:sldMkLst>
        <pc:spChg chg="mod">
          <ac:chgData name="Sarah McGee" userId="c47e0f3e-013e-4d95-ae2d-f3fcb4f9def7" providerId="ADAL" clId="{37B71A4C-5E0B-46E0-B5E4-FE81AEF833B6}" dt="2021-02-23T22:51:54.170" v="1293" actId="20577"/>
          <ac:spMkLst>
            <pc:docMk/>
            <pc:sldMk cId="2226325256" sldId="272"/>
            <ac:spMk id="7" creationId="{52A07277-83E7-6742-A781-0551DA308326}"/>
          </ac:spMkLst>
        </pc:spChg>
      </pc:sldChg>
      <pc:sldChg chg="add del">
        <pc:chgData name="Sarah McGee" userId="c47e0f3e-013e-4d95-ae2d-f3fcb4f9def7" providerId="ADAL" clId="{37B71A4C-5E0B-46E0-B5E4-FE81AEF833B6}" dt="2021-02-23T22:44:59.622" v="820"/>
        <pc:sldMkLst>
          <pc:docMk/>
          <pc:sldMk cId="3810364642" sldId="272"/>
        </pc:sldMkLst>
      </pc:sldChg>
      <pc:sldChg chg="modSp add mod ord">
        <pc:chgData name="Sarah McGee" userId="c47e0f3e-013e-4d95-ae2d-f3fcb4f9def7" providerId="ADAL" clId="{37B71A4C-5E0B-46E0-B5E4-FE81AEF833B6}" dt="2021-02-23T23:09:30.845" v="1998" actId="20577"/>
        <pc:sldMkLst>
          <pc:docMk/>
          <pc:sldMk cId="732910078" sldId="273"/>
        </pc:sldMkLst>
        <pc:spChg chg="mod">
          <ac:chgData name="Sarah McGee" userId="c47e0f3e-013e-4d95-ae2d-f3fcb4f9def7" providerId="ADAL" clId="{37B71A4C-5E0B-46E0-B5E4-FE81AEF833B6}" dt="2021-02-23T23:09:30.845" v="1998" actId="20577"/>
          <ac:spMkLst>
            <pc:docMk/>
            <pc:sldMk cId="732910078" sldId="273"/>
            <ac:spMk id="7" creationId="{52A07277-83E7-6742-A781-0551DA308326}"/>
          </ac:spMkLst>
        </pc:spChg>
      </pc:sldChg>
      <pc:sldChg chg="addSp delSp modSp add mod ord modNotesTx">
        <pc:chgData name="Sarah McGee" userId="c47e0f3e-013e-4d95-ae2d-f3fcb4f9def7" providerId="ADAL" clId="{37B71A4C-5E0B-46E0-B5E4-FE81AEF833B6}" dt="2021-02-23T23:06:15.993" v="1805" actId="20577"/>
        <pc:sldMkLst>
          <pc:docMk/>
          <pc:sldMk cId="2733457047" sldId="274"/>
        </pc:sldMkLst>
        <pc:spChg chg="del">
          <ac:chgData name="Sarah McGee" userId="c47e0f3e-013e-4d95-ae2d-f3fcb4f9def7" providerId="ADAL" clId="{37B71A4C-5E0B-46E0-B5E4-FE81AEF833B6}" dt="2021-02-23T22:52:29.576" v="1372" actId="478"/>
          <ac:spMkLst>
            <pc:docMk/>
            <pc:sldMk cId="2733457047" sldId="274"/>
            <ac:spMk id="2" creationId="{0AFA14A4-9D7F-4D41-AA44-1505BC66C4CC}"/>
          </ac:spMkLst>
        </pc:spChg>
        <pc:spChg chg="del">
          <ac:chgData name="Sarah McGee" userId="c47e0f3e-013e-4d95-ae2d-f3fcb4f9def7" providerId="ADAL" clId="{37B71A4C-5E0B-46E0-B5E4-FE81AEF833B6}" dt="2021-02-23T22:52:29.576" v="1372" actId="478"/>
          <ac:spMkLst>
            <pc:docMk/>
            <pc:sldMk cId="2733457047" sldId="274"/>
            <ac:spMk id="3" creationId="{51A75730-4110-4792-B20B-67CA6C6606F2}"/>
          </ac:spMkLst>
        </pc:spChg>
        <pc:spChg chg="del">
          <ac:chgData name="Sarah McGee" userId="c47e0f3e-013e-4d95-ae2d-f3fcb4f9def7" providerId="ADAL" clId="{37B71A4C-5E0B-46E0-B5E4-FE81AEF833B6}" dt="2021-02-23T22:52:29.576" v="1372" actId="478"/>
          <ac:spMkLst>
            <pc:docMk/>
            <pc:sldMk cId="2733457047" sldId="274"/>
            <ac:spMk id="4" creationId="{5BD527FB-79E1-4D70-9904-F9FF286621B2}"/>
          </ac:spMkLst>
        </pc:spChg>
        <pc:spChg chg="del">
          <ac:chgData name="Sarah McGee" userId="c47e0f3e-013e-4d95-ae2d-f3fcb4f9def7" providerId="ADAL" clId="{37B71A4C-5E0B-46E0-B5E4-FE81AEF833B6}" dt="2021-02-23T22:52:29.576" v="1372" actId="478"/>
          <ac:spMkLst>
            <pc:docMk/>
            <pc:sldMk cId="2733457047" sldId="274"/>
            <ac:spMk id="5" creationId="{A970A6BE-6CF5-44FA-9FE8-345E3D7C561E}"/>
          </ac:spMkLst>
        </pc:spChg>
        <pc:spChg chg="del">
          <ac:chgData name="Sarah McGee" userId="c47e0f3e-013e-4d95-ae2d-f3fcb4f9def7" providerId="ADAL" clId="{37B71A4C-5E0B-46E0-B5E4-FE81AEF833B6}" dt="2021-02-23T22:52:29.576" v="1372" actId="478"/>
          <ac:spMkLst>
            <pc:docMk/>
            <pc:sldMk cId="2733457047" sldId="274"/>
            <ac:spMk id="7" creationId="{DF5BB863-3985-461E-9283-B429659D9D7C}"/>
          </ac:spMkLst>
        </pc:spChg>
        <pc:spChg chg="add mod">
          <ac:chgData name="Sarah McGee" userId="c47e0f3e-013e-4d95-ae2d-f3fcb4f9def7" providerId="ADAL" clId="{37B71A4C-5E0B-46E0-B5E4-FE81AEF833B6}" dt="2021-02-23T23:05:17.951" v="1795" actId="1076"/>
          <ac:spMkLst>
            <pc:docMk/>
            <pc:sldMk cId="2733457047" sldId="274"/>
            <ac:spMk id="8" creationId="{231EA9F7-F27A-4E17-9B50-A46174C06A90}"/>
          </ac:spMkLst>
        </pc:spChg>
        <pc:spChg chg="mod">
          <ac:chgData name="Sarah McGee" userId="c47e0f3e-013e-4d95-ae2d-f3fcb4f9def7" providerId="ADAL" clId="{37B71A4C-5E0B-46E0-B5E4-FE81AEF833B6}" dt="2021-02-23T22:52:43.555" v="1373"/>
          <ac:spMkLst>
            <pc:docMk/>
            <pc:sldMk cId="2733457047" sldId="274"/>
            <ac:spMk id="10" creationId="{E8101A6F-A59F-4DAE-87A8-8975395415D1}"/>
          </ac:spMkLst>
        </pc:spChg>
        <pc:spChg chg="mod">
          <ac:chgData name="Sarah McGee" userId="c47e0f3e-013e-4d95-ae2d-f3fcb4f9def7" providerId="ADAL" clId="{37B71A4C-5E0B-46E0-B5E4-FE81AEF833B6}" dt="2021-02-23T22:52:43.555" v="1373"/>
          <ac:spMkLst>
            <pc:docMk/>
            <pc:sldMk cId="2733457047" sldId="274"/>
            <ac:spMk id="11" creationId="{EDB12284-1343-4C51-A7DE-B7AC49D5343C}"/>
          </ac:spMkLst>
        </pc:spChg>
        <pc:spChg chg="mod">
          <ac:chgData name="Sarah McGee" userId="c47e0f3e-013e-4d95-ae2d-f3fcb4f9def7" providerId="ADAL" clId="{37B71A4C-5E0B-46E0-B5E4-FE81AEF833B6}" dt="2021-02-23T22:52:43.555" v="1373"/>
          <ac:spMkLst>
            <pc:docMk/>
            <pc:sldMk cId="2733457047" sldId="274"/>
            <ac:spMk id="12" creationId="{CD62E510-21B8-4C68-8E82-0FC22DFF0553}"/>
          </ac:spMkLst>
        </pc:spChg>
        <pc:spChg chg="del mod">
          <ac:chgData name="Sarah McGee" userId="c47e0f3e-013e-4d95-ae2d-f3fcb4f9def7" providerId="ADAL" clId="{37B71A4C-5E0B-46E0-B5E4-FE81AEF833B6}" dt="2021-02-23T22:52:55.130" v="1375" actId="478"/>
          <ac:spMkLst>
            <pc:docMk/>
            <pc:sldMk cId="2733457047" sldId="274"/>
            <ac:spMk id="13" creationId="{02525845-5959-413C-8DBD-D577B22A3ECC}"/>
          </ac:spMkLst>
        </pc:spChg>
        <pc:spChg chg="del mod">
          <ac:chgData name="Sarah McGee" userId="c47e0f3e-013e-4d95-ae2d-f3fcb4f9def7" providerId="ADAL" clId="{37B71A4C-5E0B-46E0-B5E4-FE81AEF833B6}" dt="2021-02-23T22:52:57.307" v="1376" actId="478"/>
          <ac:spMkLst>
            <pc:docMk/>
            <pc:sldMk cId="2733457047" sldId="274"/>
            <ac:spMk id="14" creationId="{EAC88948-90D0-4F95-A47E-B159803626F0}"/>
          </ac:spMkLst>
        </pc:spChg>
        <pc:spChg chg="del mod">
          <ac:chgData name="Sarah McGee" userId="c47e0f3e-013e-4d95-ae2d-f3fcb4f9def7" providerId="ADAL" clId="{37B71A4C-5E0B-46E0-B5E4-FE81AEF833B6}" dt="2021-02-23T22:53:02.391" v="1377" actId="478"/>
          <ac:spMkLst>
            <pc:docMk/>
            <pc:sldMk cId="2733457047" sldId="274"/>
            <ac:spMk id="15" creationId="{78513D44-A7B1-452E-B77F-41A8B89C4A5A}"/>
          </ac:spMkLst>
        </pc:spChg>
        <pc:spChg chg="del mod">
          <ac:chgData name="Sarah McGee" userId="c47e0f3e-013e-4d95-ae2d-f3fcb4f9def7" providerId="ADAL" clId="{37B71A4C-5E0B-46E0-B5E4-FE81AEF833B6}" dt="2021-02-23T22:53:05.877" v="1378" actId="478"/>
          <ac:spMkLst>
            <pc:docMk/>
            <pc:sldMk cId="2733457047" sldId="274"/>
            <ac:spMk id="16" creationId="{FEA9B7F4-5700-40F1-B583-38EE258CA500}"/>
          </ac:spMkLst>
        </pc:spChg>
        <pc:spChg chg="add mod">
          <ac:chgData name="Sarah McGee" userId="c47e0f3e-013e-4d95-ae2d-f3fcb4f9def7" providerId="ADAL" clId="{37B71A4C-5E0B-46E0-B5E4-FE81AEF833B6}" dt="2021-02-23T23:06:14.015" v="1804" actId="20577"/>
          <ac:spMkLst>
            <pc:docMk/>
            <pc:sldMk cId="2733457047" sldId="274"/>
            <ac:spMk id="17" creationId="{633D4EFB-21EF-4EBC-8862-50CAD2F4433F}"/>
          </ac:spMkLst>
        </pc:spChg>
        <pc:spChg chg="mod">
          <ac:chgData name="Sarah McGee" userId="c47e0f3e-013e-4d95-ae2d-f3fcb4f9def7" providerId="ADAL" clId="{37B71A4C-5E0B-46E0-B5E4-FE81AEF833B6}" dt="2021-02-23T22:52:26.039" v="1371" actId="20577"/>
          <ac:spMkLst>
            <pc:docMk/>
            <pc:sldMk cId="2733457047" sldId="274"/>
            <ac:spMk id="19" creationId="{99EE6F6C-27EC-41CB-B767-C843FA3EAD80}"/>
          </ac:spMkLst>
        </pc:spChg>
        <pc:spChg chg="mod">
          <ac:chgData name="Sarah McGee" userId="c47e0f3e-013e-4d95-ae2d-f3fcb4f9def7" providerId="ADAL" clId="{37B71A4C-5E0B-46E0-B5E4-FE81AEF833B6}" dt="2021-02-23T22:59:31.806" v="1574"/>
          <ac:spMkLst>
            <pc:docMk/>
            <pc:sldMk cId="2733457047" sldId="274"/>
            <ac:spMk id="21" creationId="{E20691F1-7A8D-4FDE-9678-0F3A5619EE78}"/>
          </ac:spMkLst>
        </pc:spChg>
        <pc:spChg chg="mod">
          <ac:chgData name="Sarah McGee" userId="c47e0f3e-013e-4d95-ae2d-f3fcb4f9def7" providerId="ADAL" clId="{37B71A4C-5E0B-46E0-B5E4-FE81AEF833B6}" dt="2021-02-23T22:59:31.806" v="1574"/>
          <ac:spMkLst>
            <pc:docMk/>
            <pc:sldMk cId="2733457047" sldId="274"/>
            <ac:spMk id="22" creationId="{04992071-9079-4AC2-97A7-F0380DE57831}"/>
          </ac:spMkLst>
        </pc:spChg>
        <pc:spChg chg="mod">
          <ac:chgData name="Sarah McGee" userId="c47e0f3e-013e-4d95-ae2d-f3fcb4f9def7" providerId="ADAL" clId="{37B71A4C-5E0B-46E0-B5E4-FE81AEF833B6}" dt="2021-02-23T22:59:31.806" v="1574"/>
          <ac:spMkLst>
            <pc:docMk/>
            <pc:sldMk cId="2733457047" sldId="274"/>
            <ac:spMk id="23" creationId="{1D12CD64-9A68-4B7D-9C10-D9343D36288B}"/>
          </ac:spMkLst>
        </pc:spChg>
        <pc:spChg chg="add del mod">
          <ac:chgData name="Sarah McGee" userId="c47e0f3e-013e-4d95-ae2d-f3fcb4f9def7" providerId="ADAL" clId="{37B71A4C-5E0B-46E0-B5E4-FE81AEF833B6}" dt="2021-02-23T23:03:09.628" v="1727" actId="478"/>
          <ac:spMkLst>
            <pc:docMk/>
            <pc:sldMk cId="2733457047" sldId="274"/>
            <ac:spMk id="24" creationId="{8589FB69-C038-4E7D-BAF5-06186E5E7F4A}"/>
          </ac:spMkLst>
        </pc:spChg>
        <pc:spChg chg="mod">
          <ac:chgData name="Sarah McGee" userId="c47e0f3e-013e-4d95-ae2d-f3fcb4f9def7" providerId="ADAL" clId="{37B71A4C-5E0B-46E0-B5E4-FE81AEF833B6}" dt="2021-02-23T22:59:43.696" v="1583"/>
          <ac:spMkLst>
            <pc:docMk/>
            <pc:sldMk cId="2733457047" sldId="274"/>
            <ac:spMk id="26" creationId="{FD8160BE-A5CB-4CB5-A472-6EA9F6BDEF85}"/>
          </ac:spMkLst>
        </pc:spChg>
        <pc:spChg chg="mod">
          <ac:chgData name="Sarah McGee" userId="c47e0f3e-013e-4d95-ae2d-f3fcb4f9def7" providerId="ADAL" clId="{37B71A4C-5E0B-46E0-B5E4-FE81AEF833B6}" dt="2021-02-23T22:59:43.696" v="1583"/>
          <ac:spMkLst>
            <pc:docMk/>
            <pc:sldMk cId="2733457047" sldId="274"/>
            <ac:spMk id="27" creationId="{030C8592-B4BF-417B-9481-7895279C56CC}"/>
          </ac:spMkLst>
        </pc:spChg>
        <pc:spChg chg="mod">
          <ac:chgData name="Sarah McGee" userId="c47e0f3e-013e-4d95-ae2d-f3fcb4f9def7" providerId="ADAL" clId="{37B71A4C-5E0B-46E0-B5E4-FE81AEF833B6}" dt="2021-02-23T22:59:43.696" v="1583"/>
          <ac:spMkLst>
            <pc:docMk/>
            <pc:sldMk cId="2733457047" sldId="274"/>
            <ac:spMk id="28" creationId="{A5F27FA9-A4CB-44FD-B373-974C82B2AB1C}"/>
          </ac:spMkLst>
        </pc:spChg>
        <pc:spChg chg="add del mod">
          <ac:chgData name="Sarah McGee" userId="c47e0f3e-013e-4d95-ae2d-f3fcb4f9def7" providerId="ADAL" clId="{37B71A4C-5E0B-46E0-B5E4-FE81AEF833B6}" dt="2021-02-23T23:03:09.628" v="1727" actId="478"/>
          <ac:spMkLst>
            <pc:docMk/>
            <pc:sldMk cId="2733457047" sldId="274"/>
            <ac:spMk id="29" creationId="{6B613DA6-0BB9-444C-9DE3-21780A5ADD5D}"/>
          </ac:spMkLst>
        </pc:spChg>
        <pc:spChg chg="add mod">
          <ac:chgData name="Sarah McGee" userId="c47e0f3e-013e-4d95-ae2d-f3fcb4f9def7" providerId="ADAL" clId="{37B71A4C-5E0B-46E0-B5E4-FE81AEF833B6}" dt="2021-02-23T23:03:44.353" v="1756" actId="1076"/>
          <ac:spMkLst>
            <pc:docMk/>
            <pc:sldMk cId="2733457047" sldId="274"/>
            <ac:spMk id="31" creationId="{06FBDEEF-F01F-4605-98BE-559F587BAF47}"/>
          </ac:spMkLst>
        </pc:spChg>
        <pc:spChg chg="mod">
          <ac:chgData name="Sarah McGee" userId="c47e0f3e-013e-4d95-ae2d-f3fcb4f9def7" providerId="ADAL" clId="{37B71A4C-5E0B-46E0-B5E4-FE81AEF833B6}" dt="2021-02-23T23:04:04.716" v="1759"/>
          <ac:spMkLst>
            <pc:docMk/>
            <pc:sldMk cId="2733457047" sldId="274"/>
            <ac:spMk id="33" creationId="{046A8FC7-535A-4EC0-A509-2B1B244673EF}"/>
          </ac:spMkLst>
        </pc:spChg>
        <pc:spChg chg="mod">
          <ac:chgData name="Sarah McGee" userId="c47e0f3e-013e-4d95-ae2d-f3fcb4f9def7" providerId="ADAL" clId="{37B71A4C-5E0B-46E0-B5E4-FE81AEF833B6}" dt="2021-02-23T23:04:04.716" v="1759"/>
          <ac:spMkLst>
            <pc:docMk/>
            <pc:sldMk cId="2733457047" sldId="274"/>
            <ac:spMk id="34" creationId="{0BE496EB-FC14-4C70-A8C9-7B6EF566F5CA}"/>
          </ac:spMkLst>
        </pc:spChg>
        <pc:spChg chg="mod">
          <ac:chgData name="Sarah McGee" userId="c47e0f3e-013e-4d95-ae2d-f3fcb4f9def7" providerId="ADAL" clId="{37B71A4C-5E0B-46E0-B5E4-FE81AEF833B6}" dt="2021-02-23T23:04:04.716" v="1759"/>
          <ac:spMkLst>
            <pc:docMk/>
            <pc:sldMk cId="2733457047" sldId="274"/>
            <ac:spMk id="35" creationId="{25461D99-2C6F-4A54-95CC-E3B57296447F}"/>
          </ac:spMkLst>
        </pc:spChg>
        <pc:spChg chg="add mod">
          <ac:chgData name="Sarah McGee" userId="c47e0f3e-013e-4d95-ae2d-f3fcb4f9def7" providerId="ADAL" clId="{37B71A4C-5E0B-46E0-B5E4-FE81AEF833B6}" dt="2021-02-23T23:05:57.899" v="1799" actId="1076"/>
          <ac:spMkLst>
            <pc:docMk/>
            <pc:sldMk cId="2733457047" sldId="274"/>
            <ac:spMk id="36" creationId="{F52A0D2A-3E4C-4DAC-8B55-5F61B708B0D3}"/>
          </ac:spMkLst>
        </pc:spChg>
        <pc:spChg chg="mod">
          <ac:chgData name="Sarah McGee" userId="c47e0f3e-013e-4d95-ae2d-f3fcb4f9def7" providerId="ADAL" clId="{37B71A4C-5E0B-46E0-B5E4-FE81AEF833B6}" dt="2021-02-23T23:04:17.067" v="1768"/>
          <ac:spMkLst>
            <pc:docMk/>
            <pc:sldMk cId="2733457047" sldId="274"/>
            <ac:spMk id="38" creationId="{2C65F71B-FCBF-41C3-86D1-E04B2F8922FA}"/>
          </ac:spMkLst>
        </pc:spChg>
        <pc:spChg chg="mod">
          <ac:chgData name="Sarah McGee" userId="c47e0f3e-013e-4d95-ae2d-f3fcb4f9def7" providerId="ADAL" clId="{37B71A4C-5E0B-46E0-B5E4-FE81AEF833B6}" dt="2021-02-23T23:04:17.067" v="1768"/>
          <ac:spMkLst>
            <pc:docMk/>
            <pc:sldMk cId="2733457047" sldId="274"/>
            <ac:spMk id="39" creationId="{47003792-9C41-4743-A2E7-3DE2BDA0255D}"/>
          </ac:spMkLst>
        </pc:spChg>
        <pc:spChg chg="mod">
          <ac:chgData name="Sarah McGee" userId="c47e0f3e-013e-4d95-ae2d-f3fcb4f9def7" providerId="ADAL" clId="{37B71A4C-5E0B-46E0-B5E4-FE81AEF833B6}" dt="2021-02-23T23:04:17.067" v="1768"/>
          <ac:spMkLst>
            <pc:docMk/>
            <pc:sldMk cId="2733457047" sldId="274"/>
            <ac:spMk id="40" creationId="{5B3B0FC2-9C0C-44DE-B39F-55A9061AC34C}"/>
          </ac:spMkLst>
        </pc:spChg>
        <pc:spChg chg="add mod">
          <ac:chgData name="Sarah McGee" userId="c47e0f3e-013e-4d95-ae2d-f3fcb4f9def7" providerId="ADAL" clId="{37B71A4C-5E0B-46E0-B5E4-FE81AEF833B6}" dt="2021-02-23T23:05:17.951" v="1795" actId="1076"/>
          <ac:spMkLst>
            <pc:docMk/>
            <pc:sldMk cId="2733457047" sldId="274"/>
            <ac:spMk id="41" creationId="{F81763A7-151D-4990-9B69-DF3959BDEF3F}"/>
          </ac:spMkLst>
        </pc:spChg>
        <pc:grpChg chg="add mod">
          <ac:chgData name="Sarah McGee" userId="c47e0f3e-013e-4d95-ae2d-f3fcb4f9def7" providerId="ADAL" clId="{37B71A4C-5E0B-46E0-B5E4-FE81AEF833B6}" dt="2021-02-23T23:05:17.951" v="1795" actId="1076"/>
          <ac:grpSpMkLst>
            <pc:docMk/>
            <pc:sldMk cId="2733457047" sldId="274"/>
            <ac:grpSpMk id="9" creationId="{5D8DCD27-A45A-45A4-A338-5E0B70804508}"/>
          </ac:grpSpMkLst>
        </pc:grpChg>
        <pc:grpChg chg="add del mod">
          <ac:chgData name="Sarah McGee" userId="c47e0f3e-013e-4d95-ae2d-f3fcb4f9def7" providerId="ADAL" clId="{37B71A4C-5E0B-46E0-B5E4-FE81AEF833B6}" dt="2021-02-23T23:03:09.628" v="1727" actId="478"/>
          <ac:grpSpMkLst>
            <pc:docMk/>
            <pc:sldMk cId="2733457047" sldId="274"/>
            <ac:grpSpMk id="20" creationId="{E421FA61-7FA7-4324-B634-E08A48EBB11E}"/>
          </ac:grpSpMkLst>
        </pc:grpChg>
        <pc:grpChg chg="add del mod">
          <ac:chgData name="Sarah McGee" userId="c47e0f3e-013e-4d95-ae2d-f3fcb4f9def7" providerId="ADAL" clId="{37B71A4C-5E0B-46E0-B5E4-FE81AEF833B6}" dt="2021-02-23T23:03:09.628" v="1727" actId="478"/>
          <ac:grpSpMkLst>
            <pc:docMk/>
            <pc:sldMk cId="2733457047" sldId="274"/>
            <ac:grpSpMk id="25" creationId="{687A5CD2-1196-43AA-A2B5-F0625E58ECF3}"/>
          </ac:grpSpMkLst>
        </pc:grpChg>
        <pc:grpChg chg="add mod">
          <ac:chgData name="Sarah McGee" userId="c47e0f3e-013e-4d95-ae2d-f3fcb4f9def7" providerId="ADAL" clId="{37B71A4C-5E0B-46E0-B5E4-FE81AEF833B6}" dt="2021-02-23T23:05:57.899" v="1799" actId="1076"/>
          <ac:grpSpMkLst>
            <pc:docMk/>
            <pc:sldMk cId="2733457047" sldId="274"/>
            <ac:grpSpMk id="32" creationId="{7ADA1FC3-5D2C-4B8F-BCFF-3F9C6DE6EAB1}"/>
          </ac:grpSpMkLst>
        </pc:grpChg>
        <pc:grpChg chg="add mod">
          <ac:chgData name="Sarah McGee" userId="c47e0f3e-013e-4d95-ae2d-f3fcb4f9def7" providerId="ADAL" clId="{37B71A4C-5E0B-46E0-B5E4-FE81AEF833B6}" dt="2021-02-23T23:05:17.951" v="1795" actId="1076"/>
          <ac:grpSpMkLst>
            <pc:docMk/>
            <pc:sldMk cId="2733457047" sldId="274"/>
            <ac:grpSpMk id="37" creationId="{064BC0AD-F9C1-491C-9C09-4FA04CB87A8F}"/>
          </ac:grpSpMkLst>
        </pc:grpChg>
        <pc:cxnChg chg="add del mod">
          <ac:chgData name="Sarah McGee" userId="c47e0f3e-013e-4d95-ae2d-f3fcb4f9def7" providerId="ADAL" clId="{37B71A4C-5E0B-46E0-B5E4-FE81AEF833B6}" dt="2021-02-23T23:05:40.787" v="1798" actId="478"/>
          <ac:cxnSpMkLst>
            <pc:docMk/>
            <pc:sldMk cId="2733457047" sldId="274"/>
            <ac:cxnSpMk id="43" creationId="{20E3DB77-99EA-4A8F-AFC2-E295D70D9B9D}"/>
          </ac:cxnSpMkLst>
        </pc:cxnChg>
      </pc:sldChg>
    </pc:docChg>
  </pc:docChgLst>
  <pc:docChgLst>
    <pc:chgData name="Andrew Jenks" userId="S::ajenks@microsoft.com::4e7ebeef-0c7f-45b3-8ca6-ec73850d6894" providerId="AD" clId="Web-{046FAE9F-305E-0000-D567-ED50FF7AE21F}"/>
    <pc:docChg chg="addSld modSld">
      <pc:chgData name="Andrew Jenks" userId="S::ajenks@microsoft.com::4e7ebeef-0c7f-45b3-8ca6-ec73850d6894" providerId="AD" clId="Web-{046FAE9F-305E-0000-D567-ED50FF7AE21F}" dt="2021-02-24T16:00:56.828" v="16"/>
      <pc:docMkLst>
        <pc:docMk/>
      </pc:docMkLst>
      <pc:sldChg chg="delSp modSp new">
        <pc:chgData name="Andrew Jenks" userId="S::ajenks@microsoft.com::4e7ebeef-0c7f-45b3-8ca6-ec73850d6894" providerId="AD" clId="Web-{046FAE9F-305E-0000-D567-ED50FF7AE21F}" dt="2021-02-24T16:00:56.828" v="16"/>
        <pc:sldMkLst>
          <pc:docMk/>
          <pc:sldMk cId="2277256263" sldId="275"/>
        </pc:sldMkLst>
        <pc:spChg chg="mod">
          <ac:chgData name="Andrew Jenks" userId="S::ajenks@microsoft.com::4e7ebeef-0c7f-45b3-8ca6-ec73850d6894" providerId="AD" clId="Web-{046FAE9F-305E-0000-D567-ED50FF7AE21F}" dt="2021-02-24T16:00:55.594" v="15" actId="20577"/>
          <ac:spMkLst>
            <pc:docMk/>
            <pc:sldMk cId="2277256263" sldId="275"/>
            <ac:spMk id="2" creationId="{CA3F171C-C6D2-4C55-929D-88B97BC6E311}"/>
          </ac:spMkLst>
        </pc:spChg>
        <pc:spChg chg="del">
          <ac:chgData name="Andrew Jenks" userId="S::ajenks@microsoft.com::4e7ebeef-0c7f-45b3-8ca6-ec73850d6894" providerId="AD" clId="Web-{046FAE9F-305E-0000-D567-ED50FF7AE21F}" dt="2021-02-24T16:00:56.828" v="16"/>
          <ac:spMkLst>
            <pc:docMk/>
            <pc:sldMk cId="2277256263" sldId="275"/>
            <ac:spMk id="3" creationId="{4E0758AF-0A86-4659-A4FD-153893DD6C4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9FC861-7F9A-4ECC-895D-E672866F29B5}" type="datetimeFigureOut">
              <a:rPr lang="en-US" smtClean="0"/>
              <a:t>3/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474883-C7DF-4969-BCB9-C65F2F0B6397}" type="slidenum">
              <a:rPr lang="en-US" smtClean="0"/>
              <a:t>‹#›</a:t>
            </a:fld>
            <a:endParaRPr lang="en-US"/>
          </a:p>
        </p:txBody>
      </p:sp>
    </p:spTree>
    <p:extLst>
      <p:ext uri="{BB962C8B-B14F-4D97-AF65-F5344CB8AC3E}">
        <p14:creationId xmlns:p14="http://schemas.microsoft.com/office/powerpoint/2010/main" val="3237405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474883-C7DF-4969-BCB9-C65F2F0B6397}" type="slidenum">
              <a:rPr lang="en-US" smtClean="0"/>
              <a:t>5</a:t>
            </a:fld>
            <a:endParaRPr lang="en-US"/>
          </a:p>
        </p:txBody>
      </p:sp>
    </p:spTree>
    <p:extLst>
      <p:ext uri="{BB962C8B-B14F-4D97-AF65-F5344CB8AC3E}">
        <p14:creationId xmlns:p14="http://schemas.microsoft.com/office/powerpoint/2010/main" val="1757222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dirty="0"/>
          </a:p>
        </p:txBody>
      </p:sp>
      <p:sp>
        <p:nvSpPr>
          <p:cNvPr id="4" name="Slide Number Placeholder 3"/>
          <p:cNvSpPr>
            <a:spLocks noGrp="1"/>
          </p:cNvSpPr>
          <p:nvPr>
            <p:ph type="sldNum" sz="quarter" idx="5"/>
          </p:nvPr>
        </p:nvSpPr>
        <p:spPr/>
        <p:txBody>
          <a:bodyPr/>
          <a:lstStyle/>
          <a:p>
            <a:fld id="{4D474883-C7DF-4969-BCB9-C65F2F0B6397}" type="slidenum">
              <a:rPr lang="en-US" smtClean="0"/>
              <a:t>7</a:t>
            </a:fld>
            <a:endParaRPr lang="en-US"/>
          </a:p>
        </p:txBody>
      </p:sp>
    </p:spTree>
    <p:extLst>
      <p:ext uri="{BB962C8B-B14F-4D97-AF65-F5344CB8AC3E}">
        <p14:creationId xmlns:p14="http://schemas.microsoft.com/office/powerpoint/2010/main" val="1168958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dirty="0"/>
          </a:p>
        </p:txBody>
      </p:sp>
      <p:sp>
        <p:nvSpPr>
          <p:cNvPr id="4" name="Slide Number Placeholder 3"/>
          <p:cNvSpPr>
            <a:spLocks noGrp="1"/>
          </p:cNvSpPr>
          <p:nvPr>
            <p:ph type="sldNum" sz="quarter" idx="5"/>
          </p:nvPr>
        </p:nvSpPr>
        <p:spPr/>
        <p:txBody>
          <a:bodyPr/>
          <a:lstStyle/>
          <a:p>
            <a:fld id="{4D474883-C7DF-4969-BCB9-C65F2F0B6397}" type="slidenum">
              <a:rPr lang="en-US" smtClean="0"/>
              <a:t>9</a:t>
            </a:fld>
            <a:endParaRPr lang="en-US"/>
          </a:p>
        </p:txBody>
      </p:sp>
    </p:spTree>
    <p:extLst>
      <p:ext uri="{BB962C8B-B14F-4D97-AF65-F5344CB8AC3E}">
        <p14:creationId xmlns:p14="http://schemas.microsoft.com/office/powerpoint/2010/main" val="1399835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dirty="0"/>
          </a:p>
        </p:txBody>
      </p:sp>
      <p:sp>
        <p:nvSpPr>
          <p:cNvPr id="4" name="Slide Number Placeholder 3"/>
          <p:cNvSpPr>
            <a:spLocks noGrp="1"/>
          </p:cNvSpPr>
          <p:nvPr>
            <p:ph type="sldNum" sz="quarter" idx="5"/>
          </p:nvPr>
        </p:nvSpPr>
        <p:spPr/>
        <p:txBody>
          <a:bodyPr/>
          <a:lstStyle/>
          <a:p>
            <a:fld id="{4D474883-C7DF-4969-BCB9-C65F2F0B6397}" type="slidenum">
              <a:rPr lang="en-US" smtClean="0"/>
              <a:t>12</a:t>
            </a:fld>
            <a:endParaRPr lang="en-US"/>
          </a:p>
        </p:txBody>
      </p:sp>
    </p:spTree>
    <p:extLst>
      <p:ext uri="{BB962C8B-B14F-4D97-AF65-F5344CB8AC3E}">
        <p14:creationId xmlns:p14="http://schemas.microsoft.com/office/powerpoint/2010/main" val="2325424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474883-C7DF-4969-BCB9-C65F2F0B6397}" type="slidenum">
              <a:rPr lang="en-US" smtClean="0"/>
              <a:t>15</a:t>
            </a:fld>
            <a:endParaRPr lang="en-US"/>
          </a:p>
        </p:txBody>
      </p:sp>
    </p:spTree>
    <p:extLst>
      <p:ext uri="{BB962C8B-B14F-4D97-AF65-F5344CB8AC3E}">
        <p14:creationId xmlns:p14="http://schemas.microsoft.com/office/powerpoint/2010/main" val="22257817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2E8F55-09BA-5B43-BEAF-943BCADB499F}"/>
              </a:ext>
            </a:extLst>
          </p:cNvPr>
          <p:cNvGraphicFramePr>
            <a:graphicFrameLocks noChangeAspect="1"/>
          </p:cNvGraphicFramePr>
          <p:nvPr userDrawn="1">
            <p:custDataLst>
              <p:tags r:id="rId1"/>
            </p:custDataLst>
            <p:extLst>
              <p:ext uri="{D42A27DB-BD31-4B8C-83A1-F6EECF244321}">
                <p14:modId xmlns:p14="http://schemas.microsoft.com/office/powerpoint/2010/main" val="41280500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B92E8F55-09BA-5B43-BEAF-943BCADB499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D41F66-F5BD-5F49-8FA9-3054E1F97990}"/>
              </a:ext>
            </a:extLst>
          </p:cNvPr>
          <p:cNvSpPr>
            <a:spLocks noGrp="1"/>
          </p:cNvSpPr>
          <p:nvPr>
            <p:ph type="ctrTitle" hasCustomPrompt="1"/>
          </p:nvPr>
        </p:nvSpPr>
        <p:spPr>
          <a:xfrm>
            <a:off x="479425" y="1449387"/>
            <a:ext cx="5616575" cy="2680485"/>
          </a:xfrm>
        </p:spPr>
        <p:txBody>
          <a:bodyPr vert="horz" anchor="b"/>
          <a:lstStyle>
            <a:lvl1pPr algn="l">
              <a:defRPr sz="4400">
                <a:solidFill>
                  <a:schemeClr val="accent2"/>
                </a:solidFill>
              </a:defRPr>
            </a:lvl1pPr>
          </a:lstStyle>
          <a:p>
            <a:r>
              <a:rPr lang="en-US" dirty="0"/>
              <a:t>Presentation title</a:t>
            </a:r>
          </a:p>
        </p:txBody>
      </p:sp>
      <p:sp>
        <p:nvSpPr>
          <p:cNvPr id="3" name="Subtitle 2">
            <a:extLst>
              <a:ext uri="{FF2B5EF4-FFF2-40B4-BE49-F238E27FC236}">
                <a16:creationId xmlns:a16="http://schemas.microsoft.com/office/drawing/2014/main" id="{76B9062E-63A3-0F45-B7FE-9B8AD99A3F02}"/>
              </a:ext>
            </a:extLst>
          </p:cNvPr>
          <p:cNvSpPr>
            <a:spLocks noGrp="1"/>
          </p:cNvSpPr>
          <p:nvPr>
            <p:ph type="subTitle" idx="1" hasCustomPrompt="1"/>
          </p:nvPr>
        </p:nvSpPr>
        <p:spPr>
          <a:xfrm>
            <a:off x="479425" y="4400603"/>
            <a:ext cx="5616575" cy="285610"/>
          </a:xfrm>
        </p:spPr>
        <p:txBody>
          <a:bodyPr anchor="t">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r speaker name</a:t>
            </a:r>
          </a:p>
        </p:txBody>
      </p:sp>
      <p:grpSp>
        <p:nvGrpSpPr>
          <p:cNvPr id="20" name="Graphic 17">
            <a:extLst>
              <a:ext uri="{FF2B5EF4-FFF2-40B4-BE49-F238E27FC236}">
                <a16:creationId xmlns:a16="http://schemas.microsoft.com/office/drawing/2014/main" id="{E438CFBA-F7EB-1D4E-92D9-126EF686135B}"/>
              </a:ext>
            </a:extLst>
          </p:cNvPr>
          <p:cNvGrpSpPr/>
          <p:nvPr/>
        </p:nvGrpSpPr>
        <p:grpSpPr>
          <a:xfrm>
            <a:off x="7499420" y="2175187"/>
            <a:ext cx="3181978" cy="2507626"/>
            <a:chOff x="7352098" y="2064341"/>
            <a:chExt cx="3465419" cy="2731000"/>
          </a:xfrm>
          <a:solidFill>
            <a:schemeClr val="accent2"/>
          </a:solidFill>
        </p:grpSpPr>
        <p:sp>
          <p:nvSpPr>
            <p:cNvPr id="21" name="Freeform 20">
              <a:extLst>
                <a:ext uri="{FF2B5EF4-FFF2-40B4-BE49-F238E27FC236}">
                  <a16:creationId xmlns:a16="http://schemas.microsoft.com/office/drawing/2014/main" id="{AAC6598B-A83C-114B-B5C0-7AE82E45C5B5}"/>
                </a:ext>
              </a:extLst>
            </p:cNvPr>
            <p:cNvSpPr/>
            <p:nvPr/>
          </p:nvSpPr>
          <p:spPr>
            <a:xfrm>
              <a:off x="8508154" y="2729715"/>
              <a:ext cx="164758" cy="164482"/>
            </a:xfrm>
            <a:custGeom>
              <a:avLst/>
              <a:gdLst>
                <a:gd name="connsiteX0" fmla="*/ 164758 w 164758"/>
                <a:gd name="connsiteY0" fmla="*/ 82241 h 164482"/>
                <a:gd name="connsiteX1" fmla="*/ 82379 w 164758"/>
                <a:gd name="connsiteY1" fmla="*/ 164483 h 164482"/>
                <a:gd name="connsiteX2" fmla="*/ 0 w 164758"/>
                <a:gd name="connsiteY2" fmla="*/ 82241 h 164482"/>
                <a:gd name="connsiteX3" fmla="*/ 82379 w 164758"/>
                <a:gd name="connsiteY3" fmla="*/ 0 h 164482"/>
                <a:gd name="connsiteX4" fmla="*/ 164758 w 164758"/>
                <a:gd name="connsiteY4" fmla="*/ 82241 h 16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758" h="164482">
                  <a:moveTo>
                    <a:pt x="164758" y="82241"/>
                  </a:moveTo>
                  <a:cubicBezTo>
                    <a:pt x="164758" y="127662"/>
                    <a:pt x="127876" y="164483"/>
                    <a:pt x="82379" y="164483"/>
                  </a:cubicBezTo>
                  <a:cubicBezTo>
                    <a:pt x="36882" y="164483"/>
                    <a:pt x="0" y="127662"/>
                    <a:pt x="0" y="82241"/>
                  </a:cubicBezTo>
                  <a:cubicBezTo>
                    <a:pt x="0" y="36821"/>
                    <a:pt x="36882" y="0"/>
                    <a:pt x="82379" y="0"/>
                  </a:cubicBezTo>
                  <a:cubicBezTo>
                    <a:pt x="127876" y="0"/>
                    <a:pt x="164758" y="36821"/>
                    <a:pt x="164758" y="82241"/>
                  </a:cubicBezTo>
                  <a:close/>
                </a:path>
              </a:pathLst>
            </a:custGeom>
            <a:grpFill/>
            <a:ln w="13721"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5E5CF722-CDCC-0D4E-AEF5-9091B2AE03ED}"/>
                </a:ext>
              </a:extLst>
            </p:cNvPr>
            <p:cNvSpPr/>
            <p:nvPr/>
          </p:nvSpPr>
          <p:spPr>
            <a:xfrm>
              <a:off x="7352098" y="3105684"/>
              <a:ext cx="1681909" cy="1689658"/>
            </a:xfrm>
            <a:custGeom>
              <a:avLst/>
              <a:gdLst>
                <a:gd name="connsiteX0" fmla="*/ 1653077 w 1681909"/>
                <a:gd name="connsiteY0" fmla="*/ 7824 h 1689658"/>
                <a:gd name="connsiteX1" fmla="*/ 1596785 w 1681909"/>
                <a:gd name="connsiteY1" fmla="*/ 9194 h 1689658"/>
                <a:gd name="connsiteX2" fmla="*/ 840269 w 1681909"/>
                <a:gd name="connsiteY2" fmla="*/ 206573 h 1689658"/>
                <a:gd name="connsiteX3" fmla="*/ 85127 w 1681909"/>
                <a:gd name="connsiteY3" fmla="*/ 9194 h 1689658"/>
                <a:gd name="connsiteX4" fmla="*/ 28834 w 1681909"/>
                <a:gd name="connsiteY4" fmla="*/ 6453 h 1689658"/>
                <a:gd name="connsiteX5" fmla="*/ 1 w 1681909"/>
                <a:gd name="connsiteY5" fmla="*/ 54427 h 1689658"/>
                <a:gd name="connsiteX6" fmla="*/ 1 w 1681909"/>
                <a:gd name="connsiteY6" fmla="*/ 849426 h 1689658"/>
                <a:gd name="connsiteX7" fmla="*/ 840269 w 1681909"/>
                <a:gd name="connsiteY7" fmla="*/ 1689658 h 1689658"/>
                <a:gd name="connsiteX8" fmla="*/ 1681910 w 1681909"/>
                <a:gd name="connsiteY8" fmla="*/ 850797 h 1689658"/>
                <a:gd name="connsiteX9" fmla="*/ 1681910 w 1681909"/>
                <a:gd name="connsiteY9" fmla="*/ 55798 h 1689658"/>
                <a:gd name="connsiteX10" fmla="*/ 1653077 w 1681909"/>
                <a:gd name="connsiteY10" fmla="*/ 7824 h 1689658"/>
                <a:gd name="connsiteX11" fmla="*/ 109840 w 1681909"/>
                <a:gd name="connsiteY11" fmla="*/ 712631 h 1689658"/>
                <a:gd name="connsiteX12" fmla="*/ 841642 w 1681909"/>
                <a:gd name="connsiteY12" fmla="*/ 878211 h 1689658"/>
                <a:gd name="connsiteX13" fmla="*/ 1570698 w 1681909"/>
                <a:gd name="connsiteY13" fmla="*/ 713728 h 1689658"/>
                <a:gd name="connsiteX14" fmla="*/ 1570698 w 1681909"/>
                <a:gd name="connsiteY14" fmla="*/ 834897 h 1689658"/>
                <a:gd name="connsiteX15" fmla="*/ 841642 w 1681909"/>
                <a:gd name="connsiteY15" fmla="*/ 1015279 h 1689658"/>
                <a:gd name="connsiteX16" fmla="*/ 109840 w 1681909"/>
                <a:gd name="connsiteY16" fmla="*/ 833252 h 1689658"/>
                <a:gd name="connsiteX17" fmla="*/ 840269 w 1681909"/>
                <a:gd name="connsiteY17" fmla="*/ 317599 h 1689658"/>
                <a:gd name="connsiteX18" fmla="*/ 1570698 w 1681909"/>
                <a:gd name="connsiteY18" fmla="*/ 151746 h 1689658"/>
                <a:gd name="connsiteX19" fmla="*/ 1570698 w 1681909"/>
                <a:gd name="connsiteY19" fmla="*/ 586528 h 1689658"/>
                <a:gd name="connsiteX20" fmla="*/ 841642 w 1681909"/>
                <a:gd name="connsiteY20" fmla="*/ 767185 h 1689658"/>
                <a:gd name="connsiteX21" fmla="*/ 109840 w 1681909"/>
                <a:gd name="connsiteY21" fmla="*/ 584746 h 1689658"/>
                <a:gd name="connsiteX22" fmla="*/ 109840 w 1681909"/>
                <a:gd name="connsiteY22" fmla="*/ 151746 h 1689658"/>
                <a:gd name="connsiteX23" fmla="*/ 840269 w 1681909"/>
                <a:gd name="connsiteY23" fmla="*/ 317599 h 1689658"/>
                <a:gd name="connsiteX24" fmla="*/ 840269 w 1681909"/>
                <a:gd name="connsiteY24" fmla="*/ 1580003 h 1689658"/>
                <a:gd name="connsiteX25" fmla="*/ 118902 w 1681909"/>
                <a:gd name="connsiteY25" fmla="*/ 965249 h 1689658"/>
                <a:gd name="connsiteX26" fmla="*/ 841642 w 1681909"/>
                <a:gd name="connsiteY26" fmla="*/ 1126305 h 1689658"/>
                <a:gd name="connsiteX27" fmla="*/ 1561224 w 1681909"/>
                <a:gd name="connsiteY27" fmla="*/ 967168 h 1689658"/>
                <a:gd name="connsiteX28" fmla="*/ 840269 w 1681909"/>
                <a:gd name="connsiteY28" fmla="*/ 1580003 h 168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81909" h="1689658">
                  <a:moveTo>
                    <a:pt x="1653077" y="7824"/>
                  </a:moveTo>
                  <a:cubicBezTo>
                    <a:pt x="1635489" y="-2088"/>
                    <a:pt x="1613865" y="-1561"/>
                    <a:pt x="1596785" y="9194"/>
                  </a:cubicBezTo>
                  <a:cubicBezTo>
                    <a:pt x="1401821" y="132556"/>
                    <a:pt x="1118985" y="206573"/>
                    <a:pt x="840269" y="206573"/>
                  </a:cubicBezTo>
                  <a:cubicBezTo>
                    <a:pt x="551942" y="206573"/>
                    <a:pt x="277345" y="133927"/>
                    <a:pt x="85127" y="9194"/>
                  </a:cubicBezTo>
                  <a:cubicBezTo>
                    <a:pt x="68298" y="-1995"/>
                    <a:pt x="46673" y="-3047"/>
                    <a:pt x="28834" y="6453"/>
                  </a:cubicBezTo>
                  <a:cubicBezTo>
                    <a:pt x="10984" y="15794"/>
                    <a:pt x="-143" y="34308"/>
                    <a:pt x="1" y="54427"/>
                  </a:cubicBezTo>
                  <a:lnTo>
                    <a:pt x="1" y="849426"/>
                  </a:lnTo>
                  <a:cubicBezTo>
                    <a:pt x="-378" y="1313089"/>
                    <a:pt x="375824" y="1689274"/>
                    <a:pt x="840269" y="1689658"/>
                  </a:cubicBezTo>
                  <a:cubicBezTo>
                    <a:pt x="1304715" y="1690042"/>
                    <a:pt x="1681525" y="1314459"/>
                    <a:pt x="1681910" y="850797"/>
                  </a:cubicBezTo>
                  <a:lnTo>
                    <a:pt x="1681910" y="55798"/>
                  </a:lnTo>
                  <a:cubicBezTo>
                    <a:pt x="1681814" y="35746"/>
                    <a:pt x="1670747" y="17349"/>
                    <a:pt x="1653077" y="7824"/>
                  </a:cubicBezTo>
                  <a:close/>
                  <a:moveTo>
                    <a:pt x="109840" y="712631"/>
                  </a:moveTo>
                  <a:cubicBezTo>
                    <a:pt x="310571" y="818449"/>
                    <a:pt x="571438" y="878211"/>
                    <a:pt x="841642" y="878211"/>
                  </a:cubicBezTo>
                  <a:cubicBezTo>
                    <a:pt x="1109649" y="878211"/>
                    <a:pt x="1369281" y="818860"/>
                    <a:pt x="1570698" y="713728"/>
                  </a:cubicBezTo>
                  <a:lnTo>
                    <a:pt x="1570698" y="834897"/>
                  </a:lnTo>
                  <a:cubicBezTo>
                    <a:pt x="1379990" y="949349"/>
                    <a:pt x="1117612" y="1015279"/>
                    <a:pt x="841642" y="1015279"/>
                  </a:cubicBezTo>
                  <a:cubicBezTo>
                    <a:pt x="565672" y="1015279"/>
                    <a:pt x="300685" y="949486"/>
                    <a:pt x="109840" y="833252"/>
                  </a:cubicBezTo>
                  <a:close/>
                  <a:moveTo>
                    <a:pt x="840269" y="317599"/>
                  </a:moveTo>
                  <a:cubicBezTo>
                    <a:pt x="1105256" y="317599"/>
                    <a:pt x="1366123" y="257289"/>
                    <a:pt x="1570698" y="151746"/>
                  </a:cubicBezTo>
                  <a:lnTo>
                    <a:pt x="1570698" y="586528"/>
                  </a:lnTo>
                  <a:cubicBezTo>
                    <a:pt x="1381089" y="701666"/>
                    <a:pt x="1116514" y="767185"/>
                    <a:pt x="841642" y="767185"/>
                  </a:cubicBezTo>
                  <a:cubicBezTo>
                    <a:pt x="566770" y="767185"/>
                    <a:pt x="300685" y="700981"/>
                    <a:pt x="109840" y="584746"/>
                  </a:cubicBezTo>
                  <a:lnTo>
                    <a:pt x="109840" y="151746"/>
                  </a:lnTo>
                  <a:cubicBezTo>
                    <a:pt x="311669" y="257289"/>
                    <a:pt x="572537" y="316228"/>
                    <a:pt x="840269" y="317599"/>
                  </a:cubicBezTo>
                  <a:close/>
                  <a:moveTo>
                    <a:pt x="840269" y="1580003"/>
                  </a:moveTo>
                  <a:cubicBezTo>
                    <a:pt x="481423" y="1579194"/>
                    <a:pt x="176018" y="1318928"/>
                    <a:pt x="118902" y="965249"/>
                  </a:cubicBezTo>
                  <a:cubicBezTo>
                    <a:pt x="319358" y="1067914"/>
                    <a:pt x="575832" y="1126305"/>
                    <a:pt x="841642" y="1126305"/>
                  </a:cubicBezTo>
                  <a:cubicBezTo>
                    <a:pt x="1104981" y="1126305"/>
                    <a:pt x="1361043" y="1069422"/>
                    <a:pt x="1561224" y="967168"/>
                  </a:cubicBezTo>
                  <a:cubicBezTo>
                    <a:pt x="1503394" y="1319997"/>
                    <a:pt x="1198384" y="1579263"/>
                    <a:pt x="840269" y="1580003"/>
                  </a:cubicBezTo>
                  <a:close/>
                </a:path>
              </a:pathLst>
            </a:custGeom>
            <a:grpFill/>
            <a:ln w="13721"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426C11C6-2467-1940-97BF-98AEA480DADC}"/>
                </a:ext>
              </a:extLst>
            </p:cNvPr>
            <p:cNvSpPr/>
            <p:nvPr/>
          </p:nvSpPr>
          <p:spPr>
            <a:xfrm>
              <a:off x="7354254" y="2064341"/>
              <a:ext cx="1678930" cy="1108105"/>
            </a:xfrm>
            <a:custGeom>
              <a:avLst/>
              <a:gdLst>
                <a:gd name="connsiteX0" fmla="*/ 85717 w 1678930"/>
                <a:gd name="connsiteY0" fmla="*/ 928546 h 1108105"/>
                <a:gd name="connsiteX1" fmla="*/ 839487 w 1678930"/>
                <a:gd name="connsiteY1" fmla="*/ 1108106 h 1108105"/>
                <a:gd name="connsiteX2" fmla="*/ 1593256 w 1678930"/>
                <a:gd name="connsiteY2" fmla="*/ 928546 h 1108105"/>
                <a:gd name="connsiteX3" fmla="*/ 1678931 w 1678930"/>
                <a:gd name="connsiteY3" fmla="*/ 783527 h 1108105"/>
                <a:gd name="connsiteX4" fmla="*/ 1678931 w 1678930"/>
                <a:gd name="connsiteY4" fmla="*/ 769820 h 1108105"/>
                <a:gd name="connsiteX5" fmla="*/ 768623 w 1678930"/>
                <a:gd name="connsiteY5" fmla="*/ 3052 h 1108105"/>
                <a:gd name="connsiteX6" fmla="*/ 592 w 1678930"/>
                <a:gd name="connsiteY6" fmla="*/ 769546 h 1108105"/>
                <a:gd name="connsiteX7" fmla="*/ 85717 w 1678930"/>
                <a:gd name="connsiteY7" fmla="*/ 928546 h 1108105"/>
                <a:gd name="connsiteX8" fmla="*/ 148874 w 1678930"/>
                <a:gd name="connsiteY8" fmla="*/ 603281 h 1108105"/>
                <a:gd name="connsiteX9" fmla="*/ 652760 w 1678930"/>
                <a:gd name="connsiteY9" fmla="*/ 739391 h 1108105"/>
                <a:gd name="connsiteX10" fmla="*/ 886559 w 1678930"/>
                <a:gd name="connsiteY10" fmla="*/ 877842 h 1108105"/>
                <a:gd name="connsiteX11" fmla="*/ 1025245 w 1678930"/>
                <a:gd name="connsiteY11" fmla="*/ 644435 h 1108105"/>
                <a:gd name="connsiteX12" fmla="*/ 791444 w 1678930"/>
                <a:gd name="connsiteY12" fmla="*/ 505983 h 1108105"/>
                <a:gd name="connsiteX13" fmla="*/ 657154 w 1678930"/>
                <a:gd name="connsiteY13" fmla="*/ 629736 h 1108105"/>
                <a:gd name="connsiteX14" fmla="*/ 193496 w 1678930"/>
                <a:gd name="connsiteY14" fmla="*/ 503084 h 1108105"/>
                <a:gd name="connsiteX15" fmla="*/ 839487 w 1678930"/>
                <a:gd name="connsiteY15" fmla="*/ 114357 h 1108105"/>
                <a:gd name="connsiteX16" fmla="*/ 1568543 w 1678930"/>
                <a:gd name="connsiteY16" fmla="*/ 779141 h 1108105"/>
                <a:gd name="connsiteX17" fmla="*/ 1539710 w 1678930"/>
                <a:gd name="connsiteY17" fmla="*/ 832597 h 1108105"/>
                <a:gd name="connsiteX18" fmla="*/ 839487 w 1678930"/>
                <a:gd name="connsiteY18" fmla="*/ 997080 h 1108105"/>
                <a:gd name="connsiteX19" fmla="*/ 139263 w 1678930"/>
                <a:gd name="connsiteY19" fmla="*/ 832597 h 1108105"/>
                <a:gd name="connsiteX20" fmla="*/ 110431 w 1678930"/>
                <a:gd name="connsiteY20" fmla="*/ 779141 h 1108105"/>
                <a:gd name="connsiteX21" fmla="*/ 148874 w 1678930"/>
                <a:gd name="connsiteY21" fmla="*/ 603281 h 1108105"/>
                <a:gd name="connsiteX22" fmla="*/ 758480 w 1678930"/>
                <a:gd name="connsiteY22" fmla="*/ 691417 h 1108105"/>
                <a:gd name="connsiteX23" fmla="*/ 839487 w 1678930"/>
                <a:gd name="connsiteY23" fmla="*/ 610546 h 1108105"/>
                <a:gd name="connsiteX24" fmla="*/ 920493 w 1678930"/>
                <a:gd name="connsiteY24" fmla="*/ 691417 h 1108105"/>
                <a:gd name="connsiteX25" fmla="*/ 839487 w 1678930"/>
                <a:gd name="connsiteY25" fmla="*/ 772287 h 1108105"/>
                <a:gd name="connsiteX26" fmla="*/ 758480 w 1678930"/>
                <a:gd name="connsiteY26" fmla="*/ 691417 h 110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78930" h="1108105">
                  <a:moveTo>
                    <a:pt x="85717" y="928546"/>
                  </a:moveTo>
                  <a:cubicBezTo>
                    <a:pt x="291665" y="1045054"/>
                    <a:pt x="559397" y="1108106"/>
                    <a:pt x="839487" y="1108106"/>
                  </a:cubicBezTo>
                  <a:cubicBezTo>
                    <a:pt x="1119576" y="1108106"/>
                    <a:pt x="1385935" y="1043683"/>
                    <a:pt x="1593256" y="928546"/>
                  </a:cubicBezTo>
                  <a:cubicBezTo>
                    <a:pt x="1646157" y="899412"/>
                    <a:pt x="1678986" y="843844"/>
                    <a:pt x="1678931" y="783527"/>
                  </a:cubicBezTo>
                  <a:cubicBezTo>
                    <a:pt x="1678931" y="778866"/>
                    <a:pt x="1678931" y="774206"/>
                    <a:pt x="1678931" y="769820"/>
                  </a:cubicBezTo>
                  <a:cubicBezTo>
                    <a:pt x="1639649" y="307129"/>
                    <a:pt x="1232089" y="-36165"/>
                    <a:pt x="768623" y="3052"/>
                  </a:cubicBezTo>
                  <a:cubicBezTo>
                    <a:pt x="359758" y="37648"/>
                    <a:pt x="35380" y="361378"/>
                    <a:pt x="592" y="769546"/>
                  </a:cubicBezTo>
                  <a:cubicBezTo>
                    <a:pt x="-4920" y="834666"/>
                    <a:pt x="28420" y="896939"/>
                    <a:pt x="85717" y="928546"/>
                  </a:cubicBezTo>
                  <a:close/>
                  <a:moveTo>
                    <a:pt x="148874" y="603281"/>
                  </a:moveTo>
                  <a:cubicBezTo>
                    <a:pt x="307777" y="677159"/>
                    <a:pt x="478224" y="723200"/>
                    <a:pt x="652760" y="739391"/>
                  </a:cubicBezTo>
                  <a:cubicBezTo>
                    <a:pt x="679026" y="842077"/>
                    <a:pt x="783701" y="904064"/>
                    <a:pt x="886559" y="877842"/>
                  </a:cubicBezTo>
                  <a:cubicBezTo>
                    <a:pt x="989418" y="851621"/>
                    <a:pt x="1051510" y="747121"/>
                    <a:pt x="1025245" y="644435"/>
                  </a:cubicBezTo>
                  <a:cubicBezTo>
                    <a:pt x="998980" y="541748"/>
                    <a:pt x="894303" y="479760"/>
                    <a:pt x="791444" y="505983"/>
                  </a:cubicBezTo>
                  <a:cubicBezTo>
                    <a:pt x="728644" y="521991"/>
                    <a:pt x="678155" y="568519"/>
                    <a:pt x="657154" y="629736"/>
                  </a:cubicBezTo>
                  <a:cubicBezTo>
                    <a:pt x="496469" y="614380"/>
                    <a:pt x="339629" y="571538"/>
                    <a:pt x="193496" y="503084"/>
                  </a:cubicBezTo>
                  <a:cubicBezTo>
                    <a:pt x="321203" y="265119"/>
                    <a:pt x="569073" y="115963"/>
                    <a:pt x="839487" y="114357"/>
                  </a:cubicBezTo>
                  <a:cubicBezTo>
                    <a:pt x="1217101" y="117051"/>
                    <a:pt x="1531733" y="403943"/>
                    <a:pt x="1568543" y="779141"/>
                  </a:cubicBezTo>
                  <a:cubicBezTo>
                    <a:pt x="1569984" y="801003"/>
                    <a:pt x="1558794" y="821769"/>
                    <a:pt x="1539710" y="832597"/>
                  </a:cubicBezTo>
                  <a:cubicBezTo>
                    <a:pt x="1348865" y="938140"/>
                    <a:pt x="1100354" y="997080"/>
                    <a:pt x="839487" y="997080"/>
                  </a:cubicBezTo>
                  <a:cubicBezTo>
                    <a:pt x="578619" y="997080"/>
                    <a:pt x="330109" y="939511"/>
                    <a:pt x="139263" y="832597"/>
                  </a:cubicBezTo>
                  <a:cubicBezTo>
                    <a:pt x="120184" y="821769"/>
                    <a:pt x="108984" y="801003"/>
                    <a:pt x="110431" y="779141"/>
                  </a:cubicBezTo>
                  <a:cubicBezTo>
                    <a:pt x="115761" y="719136"/>
                    <a:pt x="128679" y="660047"/>
                    <a:pt x="148874" y="603281"/>
                  </a:cubicBezTo>
                  <a:close/>
                  <a:moveTo>
                    <a:pt x="758480" y="691417"/>
                  </a:moveTo>
                  <a:cubicBezTo>
                    <a:pt x="758556" y="646784"/>
                    <a:pt x="794779" y="610621"/>
                    <a:pt x="839487" y="610546"/>
                  </a:cubicBezTo>
                  <a:cubicBezTo>
                    <a:pt x="884225" y="610546"/>
                    <a:pt x="920493" y="646753"/>
                    <a:pt x="920493" y="691417"/>
                  </a:cubicBezTo>
                  <a:cubicBezTo>
                    <a:pt x="920493" y="736080"/>
                    <a:pt x="884225" y="772287"/>
                    <a:pt x="839487" y="772287"/>
                  </a:cubicBezTo>
                  <a:cubicBezTo>
                    <a:pt x="794748" y="772287"/>
                    <a:pt x="758480" y="736080"/>
                    <a:pt x="758480" y="691417"/>
                  </a:cubicBezTo>
                  <a:close/>
                </a:path>
              </a:pathLst>
            </a:custGeom>
            <a:grpFill/>
            <a:ln w="13721"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50322EDC-E634-D24C-B60C-5DEA6161FCB6}"/>
                </a:ext>
              </a:extLst>
            </p:cNvPr>
            <p:cNvSpPr/>
            <p:nvPr/>
          </p:nvSpPr>
          <p:spPr>
            <a:xfrm>
              <a:off x="9415641" y="2612977"/>
              <a:ext cx="616604" cy="799500"/>
            </a:xfrm>
            <a:custGeom>
              <a:avLst/>
              <a:gdLst>
                <a:gd name="connsiteX0" fmla="*/ 175799 w 616604"/>
                <a:gd name="connsiteY0" fmla="*/ 770556 h 799500"/>
                <a:gd name="connsiteX1" fmla="*/ 318590 w 616604"/>
                <a:gd name="connsiteY1" fmla="*/ 799341 h 799500"/>
                <a:gd name="connsiteX2" fmla="*/ 458634 w 616604"/>
                <a:gd name="connsiteY2" fmla="*/ 770556 h 799500"/>
                <a:gd name="connsiteX3" fmla="*/ 550624 w 616604"/>
                <a:gd name="connsiteY3" fmla="*/ 702022 h 799500"/>
                <a:gd name="connsiteX4" fmla="*/ 601425 w 616604"/>
                <a:gd name="connsiteY4" fmla="*/ 619781 h 799500"/>
                <a:gd name="connsiteX5" fmla="*/ 616528 w 616604"/>
                <a:gd name="connsiteY5" fmla="*/ 549876 h 799500"/>
                <a:gd name="connsiteX6" fmla="*/ 610363 w 616604"/>
                <a:gd name="connsiteY6" fmla="*/ 541651 h 799500"/>
                <a:gd name="connsiteX7" fmla="*/ 608290 w 616604"/>
                <a:gd name="connsiteY7" fmla="*/ 541651 h 799500"/>
                <a:gd name="connsiteX8" fmla="*/ 512181 w 616604"/>
                <a:gd name="connsiteY8" fmla="*/ 541651 h 799500"/>
                <a:gd name="connsiteX9" fmla="*/ 501197 w 616604"/>
                <a:gd name="connsiteY9" fmla="*/ 549876 h 799500"/>
                <a:gd name="connsiteX10" fmla="*/ 483348 w 616604"/>
                <a:gd name="connsiteY10" fmla="*/ 597850 h 799500"/>
                <a:gd name="connsiteX11" fmla="*/ 451769 w 616604"/>
                <a:gd name="connsiteY11" fmla="*/ 647194 h 799500"/>
                <a:gd name="connsiteX12" fmla="*/ 399596 w 616604"/>
                <a:gd name="connsiteY12" fmla="*/ 685574 h 799500"/>
                <a:gd name="connsiteX13" fmla="*/ 319963 w 616604"/>
                <a:gd name="connsiteY13" fmla="*/ 700651 h 799500"/>
                <a:gd name="connsiteX14" fmla="*/ 171680 w 616604"/>
                <a:gd name="connsiteY14" fmla="*/ 621151 h 799500"/>
                <a:gd name="connsiteX15" fmla="*/ 119507 w 616604"/>
                <a:gd name="connsiteY15" fmla="*/ 400470 h 799500"/>
                <a:gd name="connsiteX16" fmla="*/ 171680 w 616604"/>
                <a:gd name="connsiteY16" fmla="*/ 179790 h 799500"/>
                <a:gd name="connsiteX17" fmla="*/ 319963 w 616604"/>
                <a:gd name="connsiteY17" fmla="*/ 100290 h 799500"/>
                <a:gd name="connsiteX18" fmla="*/ 453143 w 616604"/>
                <a:gd name="connsiteY18" fmla="*/ 157859 h 799500"/>
                <a:gd name="connsiteX19" fmla="*/ 483348 w 616604"/>
                <a:gd name="connsiteY19" fmla="*/ 207204 h 799500"/>
                <a:gd name="connsiteX20" fmla="*/ 499824 w 616604"/>
                <a:gd name="connsiteY20" fmla="*/ 251065 h 799500"/>
                <a:gd name="connsiteX21" fmla="*/ 510808 w 616604"/>
                <a:gd name="connsiteY21" fmla="*/ 259290 h 799500"/>
                <a:gd name="connsiteX22" fmla="*/ 606917 w 616604"/>
                <a:gd name="connsiteY22" fmla="*/ 259290 h 799500"/>
                <a:gd name="connsiteX23" fmla="*/ 615155 w 616604"/>
                <a:gd name="connsiteY23" fmla="*/ 249695 h 799500"/>
                <a:gd name="connsiteX24" fmla="*/ 601425 w 616604"/>
                <a:gd name="connsiteY24" fmla="*/ 183902 h 799500"/>
                <a:gd name="connsiteX25" fmla="*/ 553371 w 616604"/>
                <a:gd name="connsiteY25" fmla="*/ 101661 h 799500"/>
                <a:gd name="connsiteX26" fmla="*/ 461380 w 616604"/>
                <a:gd name="connsiteY26" fmla="*/ 30385 h 799500"/>
                <a:gd name="connsiteX27" fmla="*/ 317217 w 616604"/>
                <a:gd name="connsiteY27" fmla="*/ 230 h 799500"/>
                <a:gd name="connsiteX28" fmla="*/ 174426 w 616604"/>
                <a:gd name="connsiteY28" fmla="*/ 30385 h 799500"/>
                <a:gd name="connsiteX29" fmla="*/ 75571 w 616604"/>
                <a:gd name="connsiteY29" fmla="*/ 113997 h 799500"/>
                <a:gd name="connsiteX30" fmla="*/ 17906 w 616604"/>
                <a:gd name="connsiteY30" fmla="*/ 240100 h 799500"/>
                <a:gd name="connsiteX31" fmla="*/ 57 w 616604"/>
                <a:gd name="connsiteY31" fmla="*/ 400470 h 799500"/>
                <a:gd name="connsiteX32" fmla="*/ 17906 w 616604"/>
                <a:gd name="connsiteY32" fmla="*/ 562212 h 799500"/>
                <a:gd name="connsiteX33" fmla="*/ 75571 w 616604"/>
                <a:gd name="connsiteY33" fmla="*/ 688315 h 799500"/>
                <a:gd name="connsiteX34" fmla="*/ 175799 w 616604"/>
                <a:gd name="connsiteY34" fmla="*/ 770556 h 79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6604" h="799500">
                  <a:moveTo>
                    <a:pt x="175799" y="770556"/>
                  </a:moveTo>
                  <a:cubicBezTo>
                    <a:pt x="220627" y="790746"/>
                    <a:pt x="269437" y="800585"/>
                    <a:pt x="318590" y="799341"/>
                  </a:cubicBezTo>
                  <a:cubicBezTo>
                    <a:pt x="366892" y="800899"/>
                    <a:pt x="414877" y="791036"/>
                    <a:pt x="458634" y="770556"/>
                  </a:cubicBezTo>
                  <a:cubicBezTo>
                    <a:pt x="493165" y="753391"/>
                    <a:pt x="524318" y="730179"/>
                    <a:pt x="550624" y="702022"/>
                  </a:cubicBezTo>
                  <a:cubicBezTo>
                    <a:pt x="572222" y="677768"/>
                    <a:pt x="589411" y="649936"/>
                    <a:pt x="601425" y="619781"/>
                  </a:cubicBezTo>
                  <a:cubicBezTo>
                    <a:pt x="610734" y="597610"/>
                    <a:pt x="615855" y="573908"/>
                    <a:pt x="616528" y="549876"/>
                  </a:cubicBezTo>
                  <a:cubicBezTo>
                    <a:pt x="617105" y="545905"/>
                    <a:pt x="614345" y="542222"/>
                    <a:pt x="610363" y="541651"/>
                  </a:cubicBezTo>
                  <a:cubicBezTo>
                    <a:pt x="609677" y="541553"/>
                    <a:pt x="608976" y="541553"/>
                    <a:pt x="608290" y="541651"/>
                  </a:cubicBezTo>
                  <a:lnTo>
                    <a:pt x="512181" y="541651"/>
                  </a:lnTo>
                  <a:cubicBezTo>
                    <a:pt x="506977" y="541263"/>
                    <a:pt x="502282" y="544777"/>
                    <a:pt x="501197" y="549876"/>
                  </a:cubicBezTo>
                  <a:cubicBezTo>
                    <a:pt x="496405" y="566270"/>
                    <a:pt x="490433" y="582303"/>
                    <a:pt x="483348" y="597850"/>
                  </a:cubicBezTo>
                  <a:cubicBezTo>
                    <a:pt x="475975" y="616109"/>
                    <a:pt x="465266" y="632842"/>
                    <a:pt x="451769" y="647194"/>
                  </a:cubicBezTo>
                  <a:cubicBezTo>
                    <a:pt x="436694" y="662867"/>
                    <a:pt x="419051" y="675849"/>
                    <a:pt x="399596" y="685574"/>
                  </a:cubicBezTo>
                  <a:cubicBezTo>
                    <a:pt x="374635" y="696864"/>
                    <a:pt x="347326" y="702034"/>
                    <a:pt x="319963" y="700651"/>
                  </a:cubicBezTo>
                  <a:cubicBezTo>
                    <a:pt x="259689" y="703257"/>
                    <a:pt x="202792" y="672758"/>
                    <a:pt x="171680" y="621151"/>
                  </a:cubicBezTo>
                  <a:cubicBezTo>
                    <a:pt x="137356" y="567694"/>
                    <a:pt x="119507" y="493677"/>
                    <a:pt x="119507" y="400470"/>
                  </a:cubicBezTo>
                  <a:cubicBezTo>
                    <a:pt x="119507" y="307264"/>
                    <a:pt x="137356" y="231876"/>
                    <a:pt x="171680" y="179790"/>
                  </a:cubicBezTo>
                  <a:cubicBezTo>
                    <a:pt x="203300" y="128708"/>
                    <a:pt x="259840" y="98390"/>
                    <a:pt x="319963" y="100290"/>
                  </a:cubicBezTo>
                  <a:cubicBezTo>
                    <a:pt x="370997" y="97270"/>
                    <a:pt x="420424" y="118638"/>
                    <a:pt x="453143" y="157859"/>
                  </a:cubicBezTo>
                  <a:cubicBezTo>
                    <a:pt x="465939" y="172474"/>
                    <a:pt x="476154" y="189163"/>
                    <a:pt x="483348" y="207204"/>
                  </a:cubicBezTo>
                  <a:cubicBezTo>
                    <a:pt x="490213" y="225022"/>
                    <a:pt x="495705" y="238729"/>
                    <a:pt x="499824" y="251065"/>
                  </a:cubicBezTo>
                  <a:cubicBezTo>
                    <a:pt x="500909" y="256164"/>
                    <a:pt x="505604" y="259678"/>
                    <a:pt x="510808" y="259290"/>
                  </a:cubicBezTo>
                  <a:lnTo>
                    <a:pt x="606917" y="259290"/>
                  </a:lnTo>
                  <a:cubicBezTo>
                    <a:pt x="612409" y="259290"/>
                    <a:pt x="615155" y="256548"/>
                    <a:pt x="615155" y="249695"/>
                  </a:cubicBezTo>
                  <a:cubicBezTo>
                    <a:pt x="613933" y="227196"/>
                    <a:pt x="609306" y="205013"/>
                    <a:pt x="601425" y="183902"/>
                  </a:cubicBezTo>
                  <a:cubicBezTo>
                    <a:pt x="590455" y="153844"/>
                    <a:pt x="574171" y="125990"/>
                    <a:pt x="553371" y="101661"/>
                  </a:cubicBezTo>
                  <a:cubicBezTo>
                    <a:pt x="527490" y="72313"/>
                    <a:pt x="496282" y="48127"/>
                    <a:pt x="461380" y="30385"/>
                  </a:cubicBezTo>
                  <a:cubicBezTo>
                    <a:pt x="416539" y="8648"/>
                    <a:pt x="367029" y="-1709"/>
                    <a:pt x="317217" y="230"/>
                  </a:cubicBezTo>
                  <a:cubicBezTo>
                    <a:pt x="267886" y="-1264"/>
                    <a:pt x="218925" y="9076"/>
                    <a:pt x="174426" y="30385"/>
                  </a:cubicBezTo>
                  <a:cubicBezTo>
                    <a:pt x="135337" y="50099"/>
                    <a:pt x="101466" y="78747"/>
                    <a:pt x="75571" y="113997"/>
                  </a:cubicBezTo>
                  <a:cubicBezTo>
                    <a:pt x="48496" y="151994"/>
                    <a:pt x="28931" y="194791"/>
                    <a:pt x="17906" y="240100"/>
                  </a:cubicBezTo>
                  <a:cubicBezTo>
                    <a:pt x="5343" y="292615"/>
                    <a:pt x="-657" y="346483"/>
                    <a:pt x="57" y="400470"/>
                  </a:cubicBezTo>
                  <a:cubicBezTo>
                    <a:pt x="-657" y="454910"/>
                    <a:pt x="5343" y="509232"/>
                    <a:pt x="17906" y="562212"/>
                  </a:cubicBezTo>
                  <a:cubicBezTo>
                    <a:pt x="28382" y="607709"/>
                    <a:pt x="48002" y="650610"/>
                    <a:pt x="75571" y="688315"/>
                  </a:cubicBezTo>
                  <a:cubicBezTo>
                    <a:pt x="102042" y="723211"/>
                    <a:pt x="136381" y="751386"/>
                    <a:pt x="175799" y="770556"/>
                  </a:cubicBezTo>
                  <a:close/>
                </a:path>
              </a:pathLst>
            </a:custGeom>
            <a:grpFill/>
            <a:ln w="13721"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30DCC36-1E66-D841-BA48-AAD7C42EB72A}"/>
                </a:ext>
              </a:extLst>
            </p:cNvPr>
            <p:cNvSpPr/>
            <p:nvPr/>
          </p:nvSpPr>
          <p:spPr>
            <a:xfrm>
              <a:off x="10201545" y="2613192"/>
              <a:ext cx="539096" cy="788159"/>
            </a:xfrm>
            <a:custGeom>
              <a:avLst/>
              <a:gdLst>
                <a:gd name="connsiteX0" fmla="*/ 7739 w 539096"/>
                <a:gd name="connsiteY0" fmla="*/ 788160 h 788159"/>
                <a:gd name="connsiteX1" fmla="*/ 529474 w 539096"/>
                <a:gd name="connsiteY1" fmla="*/ 788160 h 788159"/>
                <a:gd name="connsiteX2" fmla="*/ 539085 w 539096"/>
                <a:gd name="connsiteY2" fmla="*/ 779936 h 788159"/>
                <a:gd name="connsiteX3" fmla="*/ 539085 w 539096"/>
                <a:gd name="connsiteY3" fmla="*/ 697694 h 788159"/>
                <a:gd name="connsiteX4" fmla="*/ 529474 w 539096"/>
                <a:gd name="connsiteY4" fmla="*/ 689470 h 788159"/>
                <a:gd name="connsiteX5" fmla="*/ 156021 w 539096"/>
                <a:gd name="connsiteY5" fmla="*/ 689470 h 788159"/>
                <a:gd name="connsiteX6" fmla="*/ 156021 w 539096"/>
                <a:gd name="connsiteY6" fmla="*/ 686729 h 788159"/>
                <a:gd name="connsiteX7" fmla="*/ 410024 w 539096"/>
                <a:gd name="connsiteY7" fmla="*/ 464677 h 788159"/>
                <a:gd name="connsiteX8" fmla="*/ 447095 w 539096"/>
                <a:gd name="connsiteY8" fmla="*/ 429040 h 788159"/>
                <a:gd name="connsiteX9" fmla="*/ 523982 w 539096"/>
                <a:gd name="connsiteY9" fmla="*/ 313902 h 788159"/>
                <a:gd name="connsiteX10" fmla="*/ 539085 w 539096"/>
                <a:gd name="connsiteY10" fmla="*/ 235773 h 788159"/>
                <a:gd name="connsiteX11" fmla="*/ 521236 w 539096"/>
                <a:gd name="connsiteY11" fmla="*/ 145307 h 788159"/>
                <a:gd name="connsiteX12" fmla="*/ 469062 w 539096"/>
                <a:gd name="connsiteY12" fmla="*/ 69919 h 788159"/>
                <a:gd name="connsiteX13" fmla="*/ 385310 w 539096"/>
                <a:gd name="connsiteY13" fmla="*/ 19204 h 788159"/>
                <a:gd name="connsiteX14" fmla="*/ 272725 w 539096"/>
                <a:gd name="connsiteY14" fmla="*/ 14 h 788159"/>
                <a:gd name="connsiteX15" fmla="*/ 169751 w 539096"/>
                <a:gd name="connsiteY15" fmla="*/ 16463 h 788159"/>
                <a:gd name="connsiteX16" fmla="*/ 87372 w 539096"/>
                <a:gd name="connsiteY16" fmla="*/ 63066 h 788159"/>
                <a:gd name="connsiteX17" fmla="*/ 32453 w 539096"/>
                <a:gd name="connsiteY17" fmla="*/ 134342 h 788159"/>
                <a:gd name="connsiteX18" fmla="*/ 13231 w 539096"/>
                <a:gd name="connsiteY18" fmla="*/ 226178 h 788159"/>
                <a:gd name="connsiteX19" fmla="*/ 22842 w 539096"/>
                <a:gd name="connsiteY19" fmla="*/ 234402 h 788159"/>
                <a:gd name="connsiteX20" fmla="*/ 120324 w 539096"/>
                <a:gd name="connsiteY20" fmla="*/ 234402 h 788159"/>
                <a:gd name="connsiteX21" fmla="*/ 129935 w 539096"/>
                <a:gd name="connsiteY21" fmla="*/ 226178 h 788159"/>
                <a:gd name="connsiteX22" fmla="*/ 139546 w 539096"/>
                <a:gd name="connsiteY22" fmla="*/ 179574 h 788159"/>
                <a:gd name="connsiteX23" fmla="*/ 168378 w 539096"/>
                <a:gd name="connsiteY23" fmla="*/ 139824 h 788159"/>
                <a:gd name="connsiteX24" fmla="*/ 213687 w 539096"/>
                <a:gd name="connsiteY24" fmla="*/ 111040 h 788159"/>
                <a:gd name="connsiteX25" fmla="*/ 272725 w 539096"/>
                <a:gd name="connsiteY25" fmla="*/ 100074 h 788159"/>
                <a:gd name="connsiteX26" fmla="*/ 340002 w 539096"/>
                <a:gd name="connsiteY26" fmla="*/ 113781 h 788159"/>
                <a:gd name="connsiteX27" fmla="*/ 386683 w 539096"/>
                <a:gd name="connsiteY27" fmla="*/ 148049 h 788159"/>
                <a:gd name="connsiteX28" fmla="*/ 414143 w 539096"/>
                <a:gd name="connsiteY28" fmla="*/ 191911 h 788159"/>
                <a:gd name="connsiteX29" fmla="*/ 423754 w 539096"/>
                <a:gd name="connsiteY29" fmla="*/ 235773 h 788159"/>
                <a:gd name="connsiteX30" fmla="*/ 412770 w 539096"/>
                <a:gd name="connsiteY30" fmla="*/ 283747 h 788159"/>
                <a:gd name="connsiteX31" fmla="*/ 385310 w 539096"/>
                <a:gd name="connsiteY31" fmla="*/ 328979 h 788159"/>
                <a:gd name="connsiteX32" fmla="*/ 352359 w 539096"/>
                <a:gd name="connsiteY32" fmla="*/ 364617 h 788159"/>
                <a:gd name="connsiteX33" fmla="*/ 6366 w 539096"/>
                <a:gd name="connsiteY33" fmla="*/ 685358 h 788159"/>
                <a:gd name="connsiteX34" fmla="*/ 2247 w 539096"/>
                <a:gd name="connsiteY34" fmla="*/ 693582 h 788159"/>
                <a:gd name="connsiteX35" fmla="*/ 874 w 539096"/>
                <a:gd name="connsiteY35" fmla="*/ 701807 h 788159"/>
                <a:gd name="connsiteX36" fmla="*/ 874 w 539096"/>
                <a:gd name="connsiteY36" fmla="*/ 778565 h 788159"/>
                <a:gd name="connsiteX37" fmla="*/ 7739 w 539096"/>
                <a:gd name="connsiteY37" fmla="*/ 788160 h 78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39096" h="788159">
                  <a:moveTo>
                    <a:pt x="7739" y="788160"/>
                  </a:moveTo>
                  <a:lnTo>
                    <a:pt x="529474" y="788160"/>
                  </a:lnTo>
                  <a:cubicBezTo>
                    <a:pt x="534966" y="788160"/>
                    <a:pt x="539085" y="785418"/>
                    <a:pt x="539085" y="779936"/>
                  </a:cubicBezTo>
                  <a:lnTo>
                    <a:pt x="539085" y="697694"/>
                  </a:lnTo>
                  <a:cubicBezTo>
                    <a:pt x="539085" y="692212"/>
                    <a:pt x="536339" y="689470"/>
                    <a:pt x="529474" y="689470"/>
                  </a:cubicBezTo>
                  <a:lnTo>
                    <a:pt x="156021" y="689470"/>
                  </a:lnTo>
                  <a:lnTo>
                    <a:pt x="156021" y="686729"/>
                  </a:lnTo>
                  <a:lnTo>
                    <a:pt x="410024" y="464677"/>
                  </a:lnTo>
                  <a:cubicBezTo>
                    <a:pt x="419635" y="455083"/>
                    <a:pt x="431992" y="442746"/>
                    <a:pt x="447095" y="429040"/>
                  </a:cubicBezTo>
                  <a:cubicBezTo>
                    <a:pt x="480486" y="396436"/>
                    <a:pt x="506682" y="357216"/>
                    <a:pt x="523982" y="313902"/>
                  </a:cubicBezTo>
                  <a:cubicBezTo>
                    <a:pt x="534115" y="289105"/>
                    <a:pt x="539249" y="262554"/>
                    <a:pt x="539085" y="235773"/>
                  </a:cubicBezTo>
                  <a:cubicBezTo>
                    <a:pt x="539401" y="204716"/>
                    <a:pt x="533332" y="173923"/>
                    <a:pt x="521236" y="145307"/>
                  </a:cubicBezTo>
                  <a:cubicBezTo>
                    <a:pt x="508865" y="117061"/>
                    <a:pt x="491154" y="91464"/>
                    <a:pt x="469062" y="69919"/>
                  </a:cubicBezTo>
                  <a:cubicBezTo>
                    <a:pt x="444719" y="47729"/>
                    <a:pt x="416271" y="30501"/>
                    <a:pt x="385310" y="19204"/>
                  </a:cubicBezTo>
                  <a:cubicBezTo>
                    <a:pt x="349228" y="6171"/>
                    <a:pt x="311100" y="-327"/>
                    <a:pt x="272725" y="14"/>
                  </a:cubicBezTo>
                  <a:cubicBezTo>
                    <a:pt x="237714" y="-320"/>
                    <a:pt x="202909" y="5239"/>
                    <a:pt x="169751" y="16463"/>
                  </a:cubicBezTo>
                  <a:cubicBezTo>
                    <a:pt x="139491" y="26448"/>
                    <a:pt x="111496" y="42284"/>
                    <a:pt x="87372" y="63066"/>
                  </a:cubicBezTo>
                  <a:cubicBezTo>
                    <a:pt x="64265" y="82716"/>
                    <a:pt x="45551" y="107001"/>
                    <a:pt x="32453" y="134342"/>
                  </a:cubicBezTo>
                  <a:cubicBezTo>
                    <a:pt x="19643" y="163262"/>
                    <a:pt x="13094" y="194556"/>
                    <a:pt x="13231" y="226178"/>
                  </a:cubicBezTo>
                  <a:cubicBezTo>
                    <a:pt x="13231" y="231661"/>
                    <a:pt x="15977" y="234402"/>
                    <a:pt x="22842" y="234402"/>
                  </a:cubicBezTo>
                  <a:lnTo>
                    <a:pt x="120324" y="234402"/>
                  </a:lnTo>
                  <a:cubicBezTo>
                    <a:pt x="125816" y="234402"/>
                    <a:pt x="129935" y="231661"/>
                    <a:pt x="129935" y="226178"/>
                  </a:cubicBezTo>
                  <a:cubicBezTo>
                    <a:pt x="129688" y="210128"/>
                    <a:pt x="132969" y="194219"/>
                    <a:pt x="139546" y="179574"/>
                  </a:cubicBezTo>
                  <a:cubicBezTo>
                    <a:pt x="146273" y="164460"/>
                    <a:pt x="156090" y="150919"/>
                    <a:pt x="168378" y="139824"/>
                  </a:cubicBezTo>
                  <a:cubicBezTo>
                    <a:pt x="181642" y="127605"/>
                    <a:pt x="196978" y="117855"/>
                    <a:pt x="213687" y="111040"/>
                  </a:cubicBezTo>
                  <a:cubicBezTo>
                    <a:pt x="232511" y="103731"/>
                    <a:pt x="252529" y="100011"/>
                    <a:pt x="272725" y="100074"/>
                  </a:cubicBezTo>
                  <a:cubicBezTo>
                    <a:pt x="295929" y="99140"/>
                    <a:pt x="319023" y="103844"/>
                    <a:pt x="340002" y="113781"/>
                  </a:cubicBezTo>
                  <a:cubicBezTo>
                    <a:pt x="357892" y="121649"/>
                    <a:pt x="373832" y="133348"/>
                    <a:pt x="386683" y="148049"/>
                  </a:cubicBezTo>
                  <a:cubicBezTo>
                    <a:pt x="398065" y="161155"/>
                    <a:pt x="407333" y="175953"/>
                    <a:pt x="414143" y="191911"/>
                  </a:cubicBezTo>
                  <a:cubicBezTo>
                    <a:pt x="419676" y="205926"/>
                    <a:pt x="422916" y="220733"/>
                    <a:pt x="423754" y="235773"/>
                  </a:cubicBezTo>
                  <a:cubicBezTo>
                    <a:pt x="423548" y="252361"/>
                    <a:pt x="419800" y="268714"/>
                    <a:pt x="412770" y="283747"/>
                  </a:cubicBezTo>
                  <a:cubicBezTo>
                    <a:pt x="405782" y="300029"/>
                    <a:pt x="396528" y="315255"/>
                    <a:pt x="385310" y="328979"/>
                  </a:cubicBezTo>
                  <a:cubicBezTo>
                    <a:pt x="375370" y="341784"/>
                    <a:pt x="364345" y="353708"/>
                    <a:pt x="352359" y="364617"/>
                  </a:cubicBezTo>
                  <a:lnTo>
                    <a:pt x="6366" y="685358"/>
                  </a:lnTo>
                  <a:cubicBezTo>
                    <a:pt x="3702" y="687239"/>
                    <a:pt x="2151" y="690326"/>
                    <a:pt x="2247" y="693582"/>
                  </a:cubicBezTo>
                  <a:cubicBezTo>
                    <a:pt x="1231" y="696200"/>
                    <a:pt x="764" y="698999"/>
                    <a:pt x="874" y="701807"/>
                  </a:cubicBezTo>
                  <a:lnTo>
                    <a:pt x="874" y="778565"/>
                  </a:lnTo>
                  <a:cubicBezTo>
                    <a:pt x="-1872" y="785418"/>
                    <a:pt x="2247" y="788160"/>
                    <a:pt x="7739" y="788160"/>
                  </a:cubicBezTo>
                  <a:close/>
                </a:path>
              </a:pathLst>
            </a:custGeom>
            <a:grpFill/>
            <a:ln w="13721"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D4180987-CAEF-7148-B874-628CD38ABBC9}"/>
                </a:ext>
              </a:extLst>
            </p:cNvPr>
            <p:cNvSpPr/>
            <p:nvPr/>
          </p:nvSpPr>
          <p:spPr>
            <a:xfrm>
              <a:off x="9495270" y="3569885"/>
              <a:ext cx="546549" cy="780044"/>
            </a:xfrm>
            <a:custGeom>
              <a:avLst/>
              <a:gdLst>
                <a:gd name="connsiteX0" fmla="*/ 479234 w 546549"/>
                <a:gd name="connsiteY0" fmla="*/ 68595 h 780044"/>
                <a:gd name="connsiteX1" fmla="*/ 406466 w 546549"/>
                <a:gd name="connsiteY1" fmla="*/ 17880 h 780044"/>
                <a:gd name="connsiteX2" fmla="*/ 319968 w 546549"/>
                <a:gd name="connsiteY2" fmla="*/ 61 h 780044"/>
                <a:gd name="connsiteX3" fmla="*/ 9673 w 546549"/>
                <a:gd name="connsiteY3" fmla="*/ 61 h 780044"/>
                <a:gd name="connsiteX4" fmla="*/ 62 w 546549"/>
                <a:gd name="connsiteY4" fmla="*/ 7614 h 780044"/>
                <a:gd name="connsiteX5" fmla="*/ 62 w 546549"/>
                <a:gd name="connsiteY5" fmla="*/ 9656 h 780044"/>
                <a:gd name="connsiteX6" fmla="*/ 62 w 546549"/>
                <a:gd name="connsiteY6" fmla="*/ 770388 h 780044"/>
                <a:gd name="connsiteX7" fmla="*/ 7627 w 546549"/>
                <a:gd name="connsiteY7" fmla="*/ 779982 h 780044"/>
                <a:gd name="connsiteX8" fmla="*/ 9673 w 546549"/>
                <a:gd name="connsiteY8" fmla="*/ 779982 h 780044"/>
                <a:gd name="connsiteX9" fmla="*/ 103036 w 546549"/>
                <a:gd name="connsiteY9" fmla="*/ 779982 h 780044"/>
                <a:gd name="connsiteX10" fmla="*/ 112647 w 546549"/>
                <a:gd name="connsiteY10" fmla="*/ 772430 h 780044"/>
                <a:gd name="connsiteX11" fmla="*/ 112647 w 546549"/>
                <a:gd name="connsiteY11" fmla="*/ 770388 h 780044"/>
                <a:gd name="connsiteX12" fmla="*/ 112647 w 546549"/>
                <a:gd name="connsiteY12" fmla="*/ 474319 h 780044"/>
                <a:gd name="connsiteX13" fmla="*/ 114020 w 546549"/>
                <a:gd name="connsiteY13" fmla="*/ 471578 h 780044"/>
                <a:gd name="connsiteX14" fmla="*/ 319968 w 546549"/>
                <a:gd name="connsiteY14" fmla="*/ 471578 h 780044"/>
                <a:gd name="connsiteX15" fmla="*/ 406466 w 546549"/>
                <a:gd name="connsiteY15" fmla="*/ 453759 h 780044"/>
                <a:gd name="connsiteX16" fmla="*/ 479234 w 546549"/>
                <a:gd name="connsiteY16" fmla="*/ 404414 h 780044"/>
                <a:gd name="connsiteX17" fmla="*/ 528662 w 546549"/>
                <a:gd name="connsiteY17" fmla="*/ 330397 h 780044"/>
                <a:gd name="connsiteX18" fmla="*/ 546510 w 546549"/>
                <a:gd name="connsiteY18" fmla="*/ 238561 h 780044"/>
                <a:gd name="connsiteX19" fmla="*/ 528662 w 546549"/>
                <a:gd name="connsiteY19" fmla="*/ 145354 h 780044"/>
                <a:gd name="connsiteX20" fmla="*/ 479234 w 546549"/>
                <a:gd name="connsiteY20" fmla="*/ 68595 h 780044"/>
                <a:gd name="connsiteX21" fmla="*/ 435299 w 546549"/>
                <a:gd name="connsiteY21" fmla="*/ 237190 h 780044"/>
                <a:gd name="connsiteX22" fmla="*/ 424315 w 546549"/>
                <a:gd name="connsiteY22" fmla="*/ 289276 h 780044"/>
                <a:gd name="connsiteX23" fmla="*/ 395482 w 546549"/>
                <a:gd name="connsiteY23" fmla="*/ 331768 h 780044"/>
                <a:gd name="connsiteX24" fmla="*/ 354292 w 546549"/>
                <a:gd name="connsiteY24" fmla="*/ 360552 h 780044"/>
                <a:gd name="connsiteX25" fmla="*/ 306238 w 546549"/>
                <a:gd name="connsiteY25" fmla="*/ 371517 h 780044"/>
                <a:gd name="connsiteX26" fmla="*/ 114020 w 546549"/>
                <a:gd name="connsiteY26" fmla="*/ 371517 h 780044"/>
                <a:gd name="connsiteX27" fmla="*/ 112647 w 546549"/>
                <a:gd name="connsiteY27" fmla="*/ 370147 h 780044"/>
                <a:gd name="connsiteX28" fmla="*/ 112647 w 546549"/>
                <a:gd name="connsiteY28" fmla="*/ 102863 h 780044"/>
                <a:gd name="connsiteX29" fmla="*/ 114020 w 546549"/>
                <a:gd name="connsiteY29" fmla="*/ 101492 h 780044"/>
                <a:gd name="connsiteX30" fmla="*/ 306238 w 546549"/>
                <a:gd name="connsiteY30" fmla="*/ 101492 h 780044"/>
                <a:gd name="connsiteX31" fmla="*/ 354292 w 546549"/>
                <a:gd name="connsiteY31" fmla="*/ 112457 h 780044"/>
                <a:gd name="connsiteX32" fmla="*/ 395482 w 546549"/>
                <a:gd name="connsiteY32" fmla="*/ 142613 h 780044"/>
                <a:gd name="connsiteX33" fmla="*/ 424315 w 546549"/>
                <a:gd name="connsiteY33" fmla="*/ 186475 h 780044"/>
                <a:gd name="connsiteX34" fmla="*/ 435299 w 546549"/>
                <a:gd name="connsiteY34" fmla="*/ 237190 h 78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46549" h="780044">
                  <a:moveTo>
                    <a:pt x="479234" y="68595"/>
                  </a:moveTo>
                  <a:cubicBezTo>
                    <a:pt x="458598" y="47021"/>
                    <a:pt x="433857" y="29777"/>
                    <a:pt x="406466" y="17880"/>
                  </a:cubicBezTo>
                  <a:cubicBezTo>
                    <a:pt x="379239" y="5818"/>
                    <a:pt x="349748" y="-254"/>
                    <a:pt x="319968" y="61"/>
                  </a:cubicBezTo>
                  <a:lnTo>
                    <a:pt x="9673" y="61"/>
                  </a:lnTo>
                  <a:cubicBezTo>
                    <a:pt x="4922" y="-501"/>
                    <a:pt x="625" y="2885"/>
                    <a:pt x="62" y="7614"/>
                  </a:cubicBezTo>
                  <a:cubicBezTo>
                    <a:pt x="-21" y="8299"/>
                    <a:pt x="-21" y="8984"/>
                    <a:pt x="62" y="9656"/>
                  </a:cubicBezTo>
                  <a:lnTo>
                    <a:pt x="62" y="770388"/>
                  </a:lnTo>
                  <a:cubicBezTo>
                    <a:pt x="-501" y="775130"/>
                    <a:pt x="2890" y="779420"/>
                    <a:pt x="7627" y="779982"/>
                  </a:cubicBezTo>
                  <a:cubicBezTo>
                    <a:pt x="8314" y="780065"/>
                    <a:pt x="9000" y="780065"/>
                    <a:pt x="9673" y="779982"/>
                  </a:cubicBezTo>
                  <a:lnTo>
                    <a:pt x="103036" y="779982"/>
                  </a:lnTo>
                  <a:cubicBezTo>
                    <a:pt x="107786" y="780544"/>
                    <a:pt x="112084" y="777159"/>
                    <a:pt x="112647" y="772430"/>
                  </a:cubicBezTo>
                  <a:cubicBezTo>
                    <a:pt x="112729" y="771745"/>
                    <a:pt x="112729" y="771059"/>
                    <a:pt x="112647" y="770388"/>
                  </a:cubicBezTo>
                  <a:lnTo>
                    <a:pt x="112647" y="474319"/>
                  </a:lnTo>
                  <a:cubicBezTo>
                    <a:pt x="112647" y="472948"/>
                    <a:pt x="112647" y="471578"/>
                    <a:pt x="114020" y="471578"/>
                  </a:cubicBezTo>
                  <a:lnTo>
                    <a:pt x="319968" y="471578"/>
                  </a:lnTo>
                  <a:cubicBezTo>
                    <a:pt x="349748" y="471893"/>
                    <a:pt x="379239" y="465821"/>
                    <a:pt x="406466" y="453759"/>
                  </a:cubicBezTo>
                  <a:cubicBezTo>
                    <a:pt x="433514" y="441847"/>
                    <a:pt x="458173" y="425139"/>
                    <a:pt x="479234" y="404414"/>
                  </a:cubicBezTo>
                  <a:cubicBezTo>
                    <a:pt x="500007" y="382894"/>
                    <a:pt x="516758" y="357824"/>
                    <a:pt x="528662" y="330397"/>
                  </a:cubicBezTo>
                  <a:cubicBezTo>
                    <a:pt x="541019" y="301379"/>
                    <a:pt x="547101" y="270087"/>
                    <a:pt x="546510" y="238561"/>
                  </a:cubicBezTo>
                  <a:cubicBezTo>
                    <a:pt x="546291" y="206665"/>
                    <a:pt x="540236" y="175084"/>
                    <a:pt x="528662" y="145354"/>
                  </a:cubicBezTo>
                  <a:cubicBezTo>
                    <a:pt x="517458" y="116748"/>
                    <a:pt x="500653" y="90650"/>
                    <a:pt x="479234" y="68595"/>
                  </a:cubicBezTo>
                  <a:close/>
                  <a:moveTo>
                    <a:pt x="435299" y="237190"/>
                  </a:moveTo>
                  <a:cubicBezTo>
                    <a:pt x="435079" y="255105"/>
                    <a:pt x="431344" y="272801"/>
                    <a:pt x="424315" y="289276"/>
                  </a:cubicBezTo>
                  <a:cubicBezTo>
                    <a:pt x="417642" y="305217"/>
                    <a:pt x="407839" y="319664"/>
                    <a:pt x="395482" y="331768"/>
                  </a:cubicBezTo>
                  <a:cubicBezTo>
                    <a:pt x="383606" y="343761"/>
                    <a:pt x="369656" y="353520"/>
                    <a:pt x="354292" y="360552"/>
                  </a:cubicBezTo>
                  <a:cubicBezTo>
                    <a:pt x="339231" y="367570"/>
                    <a:pt x="322851" y="371312"/>
                    <a:pt x="306238" y="371517"/>
                  </a:cubicBezTo>
                  <a:lnTo>
                    <a:pt x="114020" y="371517"/>
                  </a:lnTo>
                  <a:cubicBezTo>
                    <a:pt x="112647" y="371517"/>
                    <a:pt x="112647" y="371517"/>
                    <a:pt x="112647" y="370147"/>
                  </a:cubicBezTo>
                  <a:lnTo>
                    <a:pt x="112647" y="102863"/>
                  </a:lnTo>
                  <a:cubicBezTo>
                    <a:pt x="112647" y="101492"/>
                    <a:pt x="112647" y="101492"/>
                    <a:pt x="114020" y="101492"/>
                  </a:cubicBezTo>
                  <a:lnTo>
                    <a:pt x="306238" y="101492"/>
                  </a:lnTo>
                  <a:cubicBezTo>
                    <a:pt x="322851" y="101698"/>
                    <a:pt x="339231" y="105440"/>
                    <a:pt x="354292" y="112457"/>
                  </a:cubicBezTo>
                  <a:cubicBezTo>
                    <a:pt x="369697" y="119996"/>
                    <a:pt x="383647" y="130208"/>
                    <a:pt x="395482" y="142613"/>
                  </a:cubicBezTo>
                  <a:cubicBezTo>
                    <a:pt x="407866" y="155223"/>
                    <a:pt x="417656" y="170122"/>
                    <a:pt x="424315" y="186475"/>
                  </a:cubicBezTo>
                  <a:cubicBezTo>
                    <a:pt x="431784" y="202333"/>
                    <a:pt x="435546" y="219673"/>
                    <a:pt x="435299" y="237190"/>
                  </a:cubicBezTo>
                  <a:close/>
                </a:path>
              </a:pathLst>
            </a:custGeom>
            <a:grpFill/>
            <a:ln w="13721"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A7138816-F41D-C049-9094-9C0301FBD8AB}"/>
                </a:ext>
              </a:extLst>
            </p:cNvPr>
            <p:cNvSpPr/>
            <p:nvPr/>
          </p:nvSpPr>
          <p:spPr>
            <a:xfrm>
              <a:off x="10146470" y="3567205"/>
              <a:ext cx="671047" cy="779941"/>
            </a:xfrm>
            <a:custGeom>
              <a:avLst/>
              <a:gdLst>
                <a:gd name="connsiteX0" fmla="*/ 671047 w 671047"/>
                <a:gd name="connsiteY0" fmla="*/ 768956 h 779941"/>
                <a:gd name="connsiteX1" fmla="*/ 415672 w 671047"/>
                <a:gd name="connsiteY1" fmla="*/ 8224 h 779941"/>
                <a:gd name="connsiteX2" fmla="*/ 406061 w 671047"/>
                <a:gd name="connsiteY2" fmla="*/ 0 h 779941"/>
                <a:gd name="connsiteX3" fmla="*/ 270135 w 671047"/>
                <a:gd name="connsiteY3" fmla="*/ 0 h 779941"/>
                <a:gd name="connsiteX4" fmla="*/ 260524 w 671047"/>
                <a:gd name="connsiteY4" fmla="*/ 8224 h 779941"/>
                <a:gd name="connsiteX5" fmla="*/ 1030 w 671047"/>
                <a:gd name="connsiteY5" fmla="*/ 767585 h 779941"/>
                <a:gd name="connsiteX6" fmla="*/ 1030 w 671047"/>
                <a:gd name="connsiteY6" fmla="*/ 775809 h 779941"/>
                <a:gd name="connsiteX7" fmla="*/ 9268 w 671047"/>
                <a:gd name="connsiteY7" fmla="*/ 778551 h 779941"/>
                <a:gd name="connsiteX8" fmla="*/ 112242 w 671047"/>
                <a:gd name="connsiteY8" fmla="*/ 778551 h 779941"/>
                <a:gd name="connsiteX9" fmla="*/ 120480 w 671047"/>
                <a:gd name="connsiteY9" fmla="*/ 770327 h 779941"/>
                <a:gd name="connsiteX10" fmla="*/ 172653 w 671047"/>
                <a:gd name="connsiteY10" fmla="*/ 614068 h 779941"/>
                <a:gd name="connsiteX11" fmla="*/ 175399 w 671047"/>
                <a:gd name="connsiteY11" fmla="*/ 611327 h 779941"/>
                <a:gd name="connsiteX12" fmla="*/ 493932 w 671047"/>
                <a:gd name="connsiteY12" fmla="*/ 611327 h 779941"/>
                <a:gd name="connsiteX13" fmla="*/ 498051 w 671047"/>
                <a:gd name="connsiteY13" fmla="*/ 614068 h 779941"/>
                <a:gd name="connsiteX14" fmla="*/ 548851 w 671047"/>
                <a:gd name="connsiteY14" fmla="*/ 771697 h 779941"/>
                <a:gd name="connsiteX15" fmla="*/ 557089 w 671047"/>
                <a:gd name="connsiteY15" fmla="*/ 779921 h 779941"/>
                <a:gd name="connsiteX16" fmla="*/ 660063 w 671047"/>
                <a:gd name="connsiteY16" fmla="*/ 779921 h 779941"/>
                <a:gd name="connsiteX17" fmla="*/ 668301 w 671047"/>
                <a:gd name="connsiteY17" fmla="*/ 777180 h 779941"/>
                <a:gd name="connsiteX18" fmla="*/ 671047 w 671047"/>
                <a:gd name="connsiteY18" fmla="*/ 768956 h 779941"/>
                <a:gd name="connsiteX19" fmla="*/ 467845 w 671047"/>
                <a:gd name="connsiteY19" fmla="*/ 518120 h 779941"/>
                <a:gd name="connsiteX20" fmla="*/ 204232 w 671047"/>
                <a:gd name="connsiteY20" fmla="*/ 518120 h 779941"/>
                <a:gd name="connsiteX21" fmla="*/ 204232 w 671047"/>
                <a:gd name="connsiteY21" fmla="*/ 516749 h 779941"/>
                <a:gd name="connsiteX22" fmla="*/ 333293 w 671047"/>
                <a:gd name="connsiteY22" fmla="*/ 116508 h 779941"/>
                <a:gd name="connsiteX23" fmla="*/ 337412 w 671047"/>
                <a:gd name="connsiteY23" fmla="*/ 116508 h 779941"/>
                <a:gd name="connsiteX24" fmla="*/ 466472 w 671047"/>
                <a:gd name="connsiteY24" fmla="*/ 516749 h 779941"/>
                <a:gd name="connsiteX25" fmla="*/ 467845 w 671047"/>
                <a:gd name="connsiteY25" fmla="*/ 518120 h 77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71047" h="779941">
                  <a:moveTo>
                    <a:pt x="671047" y="768956"/>
                  </a:moveTo>
                  <a:lnTo>
                    <a:pt x="415672" y="8224"/>
                  </a:lnTo>
                  <a:cubicBezTo>
                    <a:pt x="412926" y="1371"/>
                    <a:pt x="408807" y="0"/>
                    <a:pt x="406061" y="0"/>
                  </a:cubicBezTo>
                  <a:lnTo>
                    <a:pt x="270135" y="0"/>
                  </a:lnTo>
                  <a:cubicBezTo>
                    <a:pt x="267389" y="0"/>
                    <a:pt x="263270" y="1371"/>
                    <a:pt x="260524" y="8224"/>
                  </a:cubicBezTo>
                  <a:lnTo>
                    <a:pt x="1030" y="767585"/>
                  </a:lnTo>
                  <a:cubicBezTo>
                    <a:pt x="-343" y="770162"/>
                    <a:pt x="-343" y="773232"/>
                    <a:pt x="1030" y="775809"/>
                  </a:cubicBezTo>
                  <a:cubicBezTo>
                    <a:pt x="2403" y="778551"/>
                    <a:pt x="5149" y="778551"/>
                    <a:pt x="9268" y="778551"/>
                  </a:cubicBezTo>
                  <a:lnTo>
                    <a:pt x="112242" y="778551"/>
                  </a:lnTo>
                  <a:cubicBezTo>
                    <a:pt x="116361" y="778551"/>
                    <a:pt x="119107" y="775809"/>
                    <a:pt x="120480" y="770327"/>
                  </a:cubicBezTo>
                  <a:lnTo>
                    <a:pt x="172653" y="614068"/>
                  </a:lnTo>
                  <a:cubicBezTo>
                    <a:pt x="174026" y="611327"/>
                    <a:pt x="175399" y="611327"/>
                    <a:pt x="175399" y="611327"/>
                  </a:cubicBezTo>
                  <a:lnTo>
                    <a:pt x="493932" y="611327"/>
                  </a:lnTo>
                  <a:cubicBezTo>
                    <a:pt x="498051" y="611327"/>
                    <a:pt x="498051" y="612698"/>
                    <a:pt x="498051" y="614068"/>
                  </a:cubicBezTo>
                  <a:lnTo>
                    <a:pt x="548851" y="771697"/>
                  </a:lnTo>
                  <a:cubicBezTo>
                    <a:pt x="551597" y="778551"/>
                    <a:pt x="554343" y="779921"/>
                    <a:pt x="557089" y="779921"/>
                  </a:cubicBezTo>
                  <a:lnTo>
                    <a:pt x="660063" y="779921"/>
                  </a:lnTo>
                  <a:cubicBezTo>
                    <a:pt x="663056" y="780100"/>
                    <a:pt x="666008" y="779113"/>
                    <a:pt x="668301" y="777180"/>
                  </a:cubicBezTo>
                  <a:cubicBezTo>
                    <a:pt x="671047" y="775809"/>
                    <a:pt x="671047" y="773068"/>
                    <a:pt x="671047" y="768956"/>
                  </a:cubicBezTo>
                  <a:close/>
                  <a:moveTo>
                    <a:pt x="467845" y="518120"/>
                  </a:moveTo>
                  <a:lnTo>
                    <a:pt x="204232" y="518120"/>
                  </a:lnTo>
                  <a:lnTo>
                    <a:pt x="204232" y="516749"/>
                  </a:lnTo>
                  <a:lnTo>
                    <a:pt x="333293" y="116508"/>
                  </a:lnTo>
                  <a:cubicBezTo>
                    <a:pt x="334665" y="112396"/>
                    <a:pt x="336038" y="112396"/>
                    <a:pt x="337412" y="116508"/>
                  </a:cubicBezTo>
                  <a:lnTo>
                    <a:pt x="466472" y="516749"/>
                  </a:lnTo>
                  <a:cubicBezTo>
                    <a:pt x="467227" y="516749"/>
                    <a:pt x="467845" y="517366"/>
                    <a:pt x="467845" y="518120"/>
                  </a:cubicBezTo>
                  <a:close/>
                </a:path>
              </a:pathLst>
            </a:custGeom>
            <a:grpFill/>
            <a:ln w="13721" cap="flat">
              <a:noFill/>
              <a:prstDash val="solid"/>
              <a:miter/>
            </a:ln>
          </p:spPr>
          <p:txBody>
            <a:bodyPr rtlCol="0" anchor="ctr"/>
            <a:lstStyle/>
            <a:p>
              <a:endParaRPr lang="en-US"/>
            </a:p>
          </p:txBody>
        </p:sp>
      </p:grpSp>
      <p:cxnSp>
        <p:nvCxnSpPr>
          <p:cNvPr id="38" name="Straight Connector 37">
            <a:extLst>
              <a:ext uri="{FF2B5EF4-FFF2-40B4-BE49-F238E27FC236}">
                <a16:creationId xmlns:a16="http://schemas.microsoft.com/office/drawing/2014/main" id="{8B9B45C4-AFC3-3643-8AAA-917C8BA44E06}"/>
              </a:ext>
            </a:extLst>
          </p:cNvPr>
          <p:cNvCxnSpPr/>
          <p:nvPr userDrawn="1"/>
        </p:nvCxnSpPr>
        <p:spPr>
          <a:xfrm>
            <a:off x="479425" y="4250453"/>
            <a:ext cx="167075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5226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4105A7-AEB3-3140-9577-D92518AFA268}"/>
              </a:ext>
            </a:extLst>
          </p:cNvPr>
          <p:cNvGraphicFramePr>
            <a:graphicFrameLocks noChangeAspect="1"/>
          </p:cNvGraphicFramePr>
          <p:nvPr userDrawn="1">
            <p:custDataLst>
              <p:tags r:id="rId1"/>
            </p:custDataLst>
            <p:extLst>
              <p:ext uri="{D42A27DB-BD31-4B8C-83A1-F6EECF244321}">
                <p14:modId xmlns:p14="http://schemas.microsoft.com/office/powerpoint/2010/main" val="27810629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E4105A7-AEB3-3140-9577-D92518AFA2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190256-8162-5345-B363-F8D4B6511291}"/>
              </a:ext>
            </a:extLst>
          </p:cNvPr>
          <p:cNvSpPr>
            <a:spLocks noGrp="1"/>
          </p:cNvSpPr>
          <p:nvPr>
            <p:ph type="title"/>
          </p:nvPr>
        </p:nvSpPr>
        <p:spPr>
          <a:xfrm>
            <a:off x="479425" y="549275"/>
            <a:ext cx="11206808" cy="525463"/>
          </a:xfrm>
        </p:spPr>
        <p:txBody>
          <a:bodyPr vert="horz"/>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B0C7154-3139-4548-B564-EAE413E584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B487C04-02AA-664F-A1E1-B282C70C20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B8CBD2-B3BF-2A46-96D2-0A98A97C8A37}"/>
              </a:ext>
            </a:extLst>
          </p:cNvPr>
          <p:cNvSpPr>
            <a:spLocks noGrp="1"/>
          </p:cNvSpPr>
          <p:nvPr>
            <p:ph type="sldNum" sz="quarter" idx="12"/>
          </p:nvPr>
        </p:nvSpPr>
        <p:spPr/>
        <p:txBody>
          <a:bodyPr/>
          <a:lstStyle/>
          <a:p>
            <a:fld id="{5961ED0D-4218-2246-873D-34365221D361}" type="slidenum">
              <a:rPr lang="en-US" smtClean="0"/>
              <a:t>‹#›</a:t>
            </a:fld>
            <a:endParaRPr lang="en-US"/>
          </a:p>
        </p:txBody>
      </p:sp>
    </p:spTree>
    <p:extLst>
      <p:ext uri="{BB962C8B-B14F-4D97-AF65-F5344CB8AC3E}">
        <p14:creationId xmlns:p14="http://schemas.microsoft.com/office/powerpoint/2010/main" val="1543928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F9C88B5-156A-364D-B484-36FC19256E76}"/>
              </a:ext>
            </a:extLst>
          </p:cNvPr>
          <p:cNvGraphicFramePr>
            <a:graphicFrameLocks noChangeAspect="1"/>
          </p:cNvGraphicFramePr>
          <p:nvPr userDrawn="1">
            <p:custDataLst>
              <p:tags r:id="rId1"/>
            </p:custDataLst>
            <p:extLst>
              <p:ext uri="{D42A27DB-BD31-4B8C-83A1-F6EECF244321}">
                <p14:modId xmlns:p14="http://schemas.microsoft.com/office/powerpoint/2010/main" val="18124940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FF9C88B5-156A-364D-B484-36FC19256E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7433E85-BF5D-814E-9D18-2796068E0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C8FC96-38F4-9143-A2B7-2906EBB8AD89}"/>
              </a:ext>
            </a:extLst>
          </p:cNvPr>
          <p:cNvSpPr>
            <a:spLocks noGrp="1"/>
          </p:cNvSpPr>
          <p:nvPr>
            <p:ph type="sldNum" sz="quarter" idx="12"/>
          </p:nvPr>
        </p:nvSpPr>
        <p:spPr/>
        <p:txBody>
          <a:bodyPr/>
          <a:lstStyle/>
          <a:p>
            <a:fld id="{5961ED0D-4218-2246-873D-34365221D361}" type="slidenum">
              <a:rPr lang="en-US" smtClean="0"/>
              <a:t>‹#›</a:t>
            </a:fld>
            <a:endParaRPr lang="en-US"/>
          </a:p>
        </p:txBody>
      </p:sp>
      <p:sp>
        <p:nvSpPr>
          <p:cNvPr id="28" name="Title 1">
            <a:extLst>
              <a:ext uri="{FF2B5EF4-FFF2-40B4-BE49-F238E27FC236}">
                <a16:creationId xmlns:a16="http://schemas.microsoft.com/office/drawing/2014/main" id="{E0913017-AFB1-994E-BE04-0DCD3C9692B9}"/>
              </a:ext>
            </a:extLst>
          </p:cNvPr>
          <p:cNvSpPr>
            <a:spLocks noGrp="1"/>
          </p:cNvSpPr>
          <p:nvPr>
            <p:ph type="ctrTitle" hasCustomPrompt="1"/>
          </p:nvPr>
        </p:nvSpPr>
        <p:spPr>
          <a:xfrm>
            <a:off x="4905951" y="1449387"/>
            <a:ext cx="5616575" cy="2680485"/>
          </a:xfrm>
        </p:spPr>
        <p:txBody>
          <a:bodyPr vert="horz" anchor="b"/>
          <a:lstStyle>
            <a:lvl1pPr algn="l">
              <a:defRPr sz="4400">
                <a:solidFill>
                  <a:schemeClr val="bg1"/>
                </a:solidFill>
              </a:defRPr>
            </a:lvl1pPr>
          </a:lstStyle>
          <a:p>
            <a:r>
              <a:rPr lang="en-US" dirty="0"/>
              <a:t>Section title</a:t>
            </a:r>
          </a:p>
        </p:txBody>
      </p:sp>
      <p:sp>
        <p:nvSpPr>
          <p:cNvPr id="29" name="Subtitle 2">
            <a:extLst>
              <a:ext uri="{FF2B5EF4-FFF2-40B4-BE49-F238E27FC236}">
                <a16:creationId xmlns:a16="http://schemas.microsoft.com/office/drawing/2014/main" id="{D945080D-29A8-784E-83FB-40D3361F70DD}"/>
              </a:ext>
            </a:extLst>
          </p:cNvPr>
          <p:cNvSpPr>
            <a:spLocks noGrp="1"/>
          </p:cNvSpPr>
          <p:nvPr>
            <p:ph type="subTitle" idx="1" hasCustomPrompt="1"/>
          </p:nvPr>
        </p:nvSpPr>
        <p:spPr>
          <a:xfrm>
            <a:off x="4905951" y="4400603"/>
            <a:ext cx="5616575" cy="285610"/>
          </a:xfrm>
        </p:spPr>
        <p:txBody>
          <a:bodyPr anchor="t">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r speaker name</a:t>
            </a:r>
          </a:p>
        </p:txBody>
      </p:sp>
      <p:cxnSp>
        <p:nvCxnSpPr>
          <p:cNvPr id="30" name="Straight Connector 29">
            <a:extLst>
              <a:ext uri="{FF2B5EF4-FFF2-40B4-BE49-F238E27FC236}">
                <a16:creationId xmlns:a16="http://schemas.microsoft.com/office/drawing/2014/main" id="{E1F60FBC-62B4-4A41-B6E3-5FE6F0105CC3}"/>
              </a:ext>
            </a:extLst>
          </p:cNvPr>
          <p:cNvCxnSpPr/>
          <p:nvPr userDrawn="1"/>
        </p:nvCxnSpPr>
        <p:spPr>
          <a:xfrm>
            <a:off x="4905951" y="4250453"/>
            <a:ext cx="16707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3" name="Graphic 17">
            <a:extLst>
              <a:ext uri="{FF2B5EF4-FFF2-40B4-BE49-F238E27FC236}">
                <a16:creationId xmlns:a16="http://schemas.microsoft.com/office/drawing/2014/main" id="{F190CF34-8F67-C740-A980-F73F01CD7024}"/>
              </a:ext>
            </a:extLst>
          </p:cNvPr>
          <p:cNvGrpSpPr/>
          <p:nvPr userDrawn="1"/>
        </p:nvGrpSpPr>
        <p:grpSpPr>
          <a:xfrm>
            <a:off x="745645" y="2283238"/>
            <a:ext cx="3044512" cy="2399294"/>
            <a:chOff x="7352098" y="2064341"/>
            <a:chExt cx="3465419" cy="2731000"/>
          </a:xfrm>
          <a:solidFill>
            <a:schemeClr val="bg1"/>
          </a:solidFill>
        </p:grpSpPr>
        <p:sp>
          <p:nvSpPr>
            <p:cNvPr id="34" name="Freeform 33">
              <a:extLst>
                <a:ext uri="{FF2B5EF4-FFF2-40B4-BE49-F238E27FC236}">
                  <a16:creationId xmlns:a16="http://schemas.microsoft.com/office/drawing/2014/main" id="{F276EA99-DE23-094A-AEA4-ABD0AEC08FBA}"/>
                </a:ext>
              </a:extLst>
            </p:cNvPr>
            <p:cNvSpPr/>
            <p:nvPr/>
          </p:nvSpPr>
          <p:spPr>
            <a:xfrm>
              <a:off x="8508154" y="2729715"/>
              <a:ext cx="164758" cy="164482"/>
            </a:xfrm>
            <a:custGeom>
              <a:avLst/>
              <a:gdLst>
                <a:gd name="connsiteX0" fmla="*/ 164758 w 164758"/>
                <a:gd name="connsiteY0" fmla="*/ 82241 h 164482"/>
                <a:gd name="connsiteX1" fmla="*/ 82379 w 164758"/>
                <a:gd name="connsiteY1" fmla="*/ 164483 h 164482"/>
                <a:gd name="connsiteX2" fmla="*/ 0 w 164758"/>
                <a:gd name="connsiteY2" fmla="*/ 82241 h 164482"/>
                <a:gd name="connsiteX3" fmla="*/ 82379 w 164758"/>
                <a:gd name="connsiteY3" fmla="*/ 0 h 164482"/>
                <a:gd name="connsiteX4" fmla="*/ 164758 w 164758"/>
                <a:gd name="connsiteY4" fmla="*/ 82241 h 16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758" h="164482">
                  <a:moveTo>
                    <a:pt x="164758" y="82241"/>
                  </a:moveTo>
                  <a:cubicBezTo>
                    <a:pt x="164758" y="127662"/>
                    <a:pt x="127876" y="164483"/>
                    <a:pt x="82379" y="164483"/>
                  </a:cubicBezTo>
                  <a:cubicBezTo>
                    <a:pt x="36882" y="164483"/>
                    <a:pt x="0" y="127662"/>
                    <a:pt x="0" y="82241"/>
                  </a:cubicBezTo>
                  <a:cubicBezTo>
                    <a:pt x="0" y="36821"/>
                    <a:pt x="36882" y="0"/>
                    <a:pt x="82379" y="0"/>
                  </a:cubicBezTo>
                  <a:cubicBezTo>
                    <a:pt x="127876" y="0"/>
                    <a:pt x="164758" y="36821"/>
                    <a:pt x="164758" y="82241"/>
                  </a:cubicBezTo>
                  <a:close/>
                </a:path>
              </a:pathLst>
            </a:custGeom>
            <a:grpFill/>
            <a:ln w="13721"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E2A27444-C785-F643-A735-1F6994FF9B44}"/>
                </a:ext>
              </a:extLst>
            </p:cNvPr>
            <p:cNvSpPr/>
            <p:nvPr/>
          </p:nvSpPr>
          <p:spPr>
            <a:xfrm>
              <a:off x="7352098" y="3105684"/>
              <a:ext cx="1681909" cy="1689658"/>
            </a:xfrm>
            <a:custGeom>
              <a:avLst/>
              <a:gdLst>
                <a:gd name="connsiteX0" fmla="*/ 1653077 w 1681909"/>
                <a:gd name="connsiteY0" fmla="*/ 7824 h 1689658"/>
                <a:gd name="connsiteX1" fmla="*/ 1596785 w 1681909"/>
                <a:gd name="connsiteY1" fmla="*/ 9194 h 1689658"/>
                <a:gd name="connsiteX2" fmla="*/ 840269 w 1681909"/>
                <a:gd name="connsiteY2" fmla="*/ 206573 h 1689658"/>
                <a:gd name="connsiteX3" fmla="*/ 85127 w 1681909"/>
                <a:gd name="connsiteY3" fmla="*/ 9194 h 1689658"/>
                <a:gd name="connsiteX4" fmla="*/ 28834 w 1681909"/>
                <a:gd name="connsiteY4" fmla="*/ 6453 h 1689658"/>
                <a:gd name="connsiteX5" fmla="*/ 1 w 1681909"/>
                <a:gd name="connsiteY5" fmla="*/ 54427 h 1689658"/>
                <a:gd name="connsiteX6" fmla="*/ 1 w 1681909"/>
                <a:gd name="connsiteY6" fmla="*/ 849426 h 1689658"/>
                <a:gd name="connsiteX7" fmla="*/ 840269 w 1681909"/>
                <a:gd name="connsiteY7" fmla="*/ 1689658 h 1689658"/>
                <a:gd name="connsiteX8" fmla="*/ 1681910 w 1681909"/>
                <a:gd name="connsiteY8" fmla="*/ 850797 h 1689658"/>
                <a:gd name="connsiteX9" fmla="*/ 1681910 w 1681909"/>
                <a:gd name="connsiteY9" fmla="*/ 55798 h 1689658"/>
                <a:gd name="connsiteX10" fmla="*/ 1653077 w 1681909"/>
                <a:gd name="connsiteY10" fmla="*/ 7824 h 1689658"/>
                <a:gd name="connsiteX11" fmla="*/ 109840 w 1681909"/>
                <a:gd name="connsiteY11" fmla="*/ 712631 h 1689658"/>
                <a:gd name="connsiteX12" fmla="*/ 841642 w 1681909"/>
                <a:gd name="connsiteY12" fmla="*/ 878211 h 1689658"/>
                <a:gd name="connsiteX13" fmla="*/ 1570698 w 1681909"/>
                <a:gd name="connsiteY13" fmla="*/ 713728 h 1689658"/>
                <a:gd name="connsiteX14" fmla="*/ 1570698 w 1681909"/>
                <a:gd name="connsiteY14" fmla="*/ 834897 h 1689658"/>
                <a:gd name="connsiteX15" fmla="*/ 841642 w 1681909"/>
                <a:gd name="connsiteY15" fmla="*/ 1015279 h 1689658"/>
                <a:gd name="connsiteX16" fmla="*/ 109840 w 1681909"/>
                <a:gd name="connsiteY16" fmla="*/ 833252 h 1689658"/>
                <a:gd name="connsiteX17" fmla="*/ 840269 w 1681909"/>
                <a:gd name="connsiteY17" fmla="*/ 317599 h 1689658"/>
                <a:gd name="connsiteX18" fmla="*/ 1570698 w 1681909"/>
                <a:gd name="connsiteY18" fmla="*/ 151746 h 1689658"/>
                <a:gd name="connsiteX19" fmla="*/ 1570698 w 1681909"/>
                <a:gd name="connsiteY19" fmla="*/ 586528 h 1689658"/>
                <a:gd name="connsiteX20" fmla="*/ 841642 w 1681909"/>
                <a:gd name="connsiteY20" fmla="*/ 767185 h 1689658"/>
                <a:gd name="connsiteX21" fmla="*/ 109840 w 1681909"/>
                <a:gd name="connsiteY21" fmla="*/ 584746 h 1689658"/>
                <a:gd name="connsiteX22" fmla="*/ 109840 w 1681909"/>
                <a:gd name="connsiteY22" fmla="*/ 151746 h 1689658"/>
                <a:gd name="connsiteX23" fmla="*/ 840269 w 1681909"/>
                <a:gd name="connsiteY23" fmla="*/ 317599 h 1689658"/>
                <a:gd name="connsiteX24" fmla="*/ 840269 w 1681909"/>
                <a:gd name="connsiteY24" fmla="*/ 1580003 h 1689658"/>
                <a:gd name="connsiteX25" fmla="*/ 118902 w 1681909"/>
                <a:gd name="connsiteY25" fmla="*/ 965249 h 1689658"/>
                <a:gd name="connsiteX26" fmla="*/ 841642 w 1681909"/>
                <a:gd name="connsiteY26" fmla="*/ 1126305 h 1689658"/>
                <a:gd name="connsiteX27" fmla="*/ 1561224 w 1681909"/>
                <a:gd name="connsiteY27" fmla="*/ 967168 h 1689658"/>
                <a:gd name="connsiteX28" fmla="*/ 840269 w 1681909"/>
                <a:gd name="connsiteY28" fmla="*/ 1580003 h 168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81909" h="1689658">
                  <a:moveTo>
                    <a:pt x="1653077" y="7824"/>
                  </a:moveTo>
                  <a:cubicBezTo>
                    <a:pt x="1635489" y="-2088"/>
                    <a:pt x="1613865" y="-1561"/>
                    <a:pt x="1596785" y="9194"/>
                  </a:cubicBezTo>
                  <a:cubicBezTo>
                    <a:pt x="1401821" y="132556"/>
                    <a:pt x="1118985" y="206573"/>
                    <a:pt x="840269" y="206573"/>
                  </a:cubicBezTo>
                  <a:cubicBezTo>
                    <a:pt x="551942" y="206573"/>
                    <a:pt x="277345" y="133927"/>
                    <a:pt x="85127" y="9194"/>
                  </a:cubicBezTo>
                  <a:cubicBezTo>
                    <a:pt x="68298" y="-1995"/>
                    <a:pt x="46673" y="-3047"/>
                    <a:pt x="28834" y="6453"/>
                  </a:cubicBezTo>
                  <a:cubicBezTo>
                    <a:pt x="10984" y="15794"/>
                    <a:pt x="-143" y="34308"/>
                    <a:pt x="1" y="54427"/>
                  </a:cubicBezTo>
                  <a:lnTo>
                    <a:pt x="1" y="849426"/>
                  </a:lnTo>
                  <a:cubicBezTo>
                    <a:pt x="-378" y="1313089"/>
                    <a:pt x="375824" y="1689274"/>
                    <a:pt x="840269" y="1689658"/>
                  </a:cubicBezTo>
                  <a:cubicBezTo>
                    <a:pt x="1304715" y="1690042"/>
                    <a:pt x="1681525" y="1314459"/>
                    <a:pt x="1681910" y="850797"/>
                  </a:cubicBezTo>
                  <a:lnTo>
                    <a:pt x="1681910" y="55798"/>
                  </a:lnTo>
                  <a:cubicBezTo>
                    <a:pt x="1681814" y="35746"/>
                    <a:pt x="1670747" y="17349"/>
                    <a:pt x="1653077" y="7824"/>
                  </a:cubicBezTo>
                  <a:close/>
                  <a:moveTo>
                    <a:pt x="109840" y="712631"/>
                  </a:moveTo>
                  <a:cubicBezTo>
                    <a:pt x="310571" y="818449"/>
                    <a:pt x="571438" y="878211"/>
                    <a:pt x="841642" y="878211"/>
                  </a:cubicBezTo>
                  <a:cubicBezTo>
                    <a:pt x="1109649" y="878211"/>
                    <a:pt x="1369281" y="818860"/>
                    <a:pt x="1570698" y="713728"/>
                  </a:cubicBezTo>
                  <a:lnTo>
                    <a:pt x="1570698" y="834897"/>
                  </a:lnTo>
                  <a:cubicBezTo>
                    <a:pt x="1379990" y="949349"/>
                    <a:pt x="1117612" y="1015279"/>
                    <a:pt x="841642" y="1015279"/>
                  </a:cubicBezTo>
                  <a:cubicBezTo>
                    <a:pt x="565672" y="1015279"/>
                    <a:pt x="300685" y="949486"/>
                    <a:pt x="109840" y="833252"/>
                  </a:cubicBezTo>
                  <a:close/>
                  <a:moveTo>
                    <a:pt x="840269" y="317599"/>
                  </a:moveTo>
                  <a:cubicBezTo>
                    <a:pt x="1105256" y="317599"/>
                    <a:pt x="1366123" y="257289"/>
                    <a:pt x="1570698" y="151746"/>
                  </a:cubicBezTo>
                  <a:lnTo>
                    <a:pt x="1570698" y="586528"/>
                  </a:lnTo>
                  <a:cubicBezTo>
                    <a:pt x="1381089" y="701666"/>
                    <a:pt x="1116514" y="767185"/>
                    <a:pt x="841642" y="767185"/>
                  </a:cubicBezTo>
                  <a:cubicBezTo>
                    <a:pt x="566770" y="767185"/>
                    <a:pt x="300685" y="700981"/>
                    <a:pt x="109840" y="584746"/>
                  </a:cubicBezTo>
                  <a:lnTo>
                    <a:pt x="109840" y="151746"/>
                  </a:lnTo>
                  <a:cubicBezTo>
                    <a:pt x="311669" y="257289"/>
                    <a:pt x="572537" y="316228"/>
                    <a:pt x="840269" y="317599"/>
                  </a:cubicBezTo>
                  <a:close/>
                  <a:moveTo>
                    <a:pt x="840269" y="1580003"/>
                  </a:moveTo>
                  <a:cubicBezTo>
                    <a:pt x="481423" y="1579194"/>
                    <a:pt x="176018" y="1318928"/>
                    <a:pt x="118902" y="965249"/>
                  </a:cubicBezTo>
                  <a:cubicBezTo>
                    <a:pt x="319358" y="1067914"/>
                    <a:pt x="575832" y="1126305"/>
                    <a:pt x="841642" y="1126305"/>
                  </a:cubicBezTo>
                  <a:cubicBezTo>
                    <a:pt x="1104981" y="1126305"/>
                    <a:pt x="1361043" y="1069422"/>
                    <a:pt x="1561224" y="967168"/>
                  </a:cubicBezTo>
                  <a:cubicBezTo>
                    <a:pt x="1503394" y="1319997"/>
                    <a:pt x="1198384" y="1579263"/>
                    <a:pt x="840269" y="1580003"/>
                  </a:cubicBezTo>
                  <a:close/>
                </a:path>
              </a:pathLst>
            </a:custGeom>
            <a:grpFill/>
            <a:ln w="13721"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AC1AFB9-7C1C-E64A-80BB-7E588AC4ABC0}"/>
                </a:ext>
              </a:extLst>
            </p:cNvPr>
            <p:cNvSpPr/>
            <p:nvPr/>
          </p:nvSpPr>
          <p:spPr>
            <a:xfrm>
              <a:off x="7354254" y="2064341"/>
              <a:ext cx="1678930" cy="1108105"/>
            </a:xfrm>
            <a:custGeom>
              <a:avLst/>
              <a:gdLst>
                <a:gd name="connsiteX0" fmla="*/ 85717 w 1678930"/>
                <a:gd name="connsiteY0" fmla="*/ 928546 h 1108105"/>
                <a:gd name="connsiteX1" fmla="*/ 839487 w 1678930"/>
                <a:gd name="connsiteY1" fmla="*/ 1108106 h 1108105"/>
                <a:gd name="connsiteX2" fmla="*/ 1593256 w 1678930"/>
                <a:gd name="connsiteY2" fmla="*/ 928546 h 1108105"/>
                <a:gd name="connsiteX3" fmla="*/ 1678931 w 1678930"/>
                <a:gd name="connsiteY3" fmla="*/ 783527 h 1108105"/>
                <a:gd name="connsiteX4" fmla="*/ 1678931 w 1678930"/>
                <a:gd name="connsiteY4" fmla="*/ 769820 h 1108105"/>
                <a:gd name="connsiteX5" fmla="*/ 768623 w 1678930"/>
                <a:gd name="connsiteY5" fmla="*/ 3052 h 1108105"/>
                <a:gd name="connsiteX6" fmla="*/ 592 w 1678930"/>
                <a:gd name="connsiteY6" fmla="*/ 769546 h 1108105"/>
                <a:gd name="connsiteX7" fmla="*/ 85717 w 1678930"/>
                <a:gd name="connsiteY7" fmla="*/ 928546 h 1108105"/>
                <a:gd name="connsiteX8" fmla="*/ 148874 w 1678930"/>
                <a:gd name="connsiteY8" fmla="*/ 603281 h 1108105"/>
                <a:gd name="connsiteX9" fmla="*/ 652760 w 1678930"/>
                <a:gd name="connsiteY9" fmla="*/ 739391 h 1108105"/>
                <a:gd name="connsiteX10" fmla="*/ 886559 w 1678930"/>
                <a:gd name="connsiteY10" fmla="*/ 877842 h 1108105"/>
                <a:gd name="connsiteX11" fmla="*/ 1025245 w 1678930"/>
                <a:gd name="connsiteY11" fmla="*/ 644435 h 1108105"/>
                <a:gd name="connsiteX12" fmla="*/ 791444 w 1678930"/>
                <a:gd name="connsiteY12" fmla="*/ 505983 h 1108105"/>
                <a:gd name="connsiteX13" fmla="*/ 657154 w 1678930"/>
                <a:gd name="connsiteY13" fmla="*/ 629736 h 1108105"/>
                <a:gd name="connsiteX14" fmla="*/ 193496 w 1678930"/>
                <a:gd name="connsiteY14" fmla="*/ 503084 h 1108105"/>
                <a:gd name="connsiteX15" fmla="*/ 839487 w 1678930"/>
                <a:gd name="connsiteY15" fmla="*/ 114357 h 1108105"/>
                <a:gd name="connsiteX16" fmla="*/ 1568543 w 1678930"/>
                <a:gd name="connsiteY16" fmla="*/ 779141 h 1108105"/>
                <a:gd name="connsiteX17" fmla="*/ 1539710 w 1678930"/>
                <a:gd name="connsiteY17" fmla="*/ 832597 h 1108105"/>
                <a:gd name="connsiteX18" fmla="*/ 839487 w 1678930"/>
                <a:gd name="connsiteY18" fmla="*/ 997080 h 1108105"/>
                <a:gd name="connsiteX19" fmla="*/ 139263 w 1678930"/>
                <a:gd name="connsiteY19" fmla="*/ 832597 h 1108105"/>
                <a:gd name="connsiteX20" fmla="*/ 110431 w 1678930"/>
                <a:gd name="connsiteY20" fmla="*/ 779141 h 1108105"/>
                <a:gd name="connsiteX21" fmla="*/ 148874 w 1678930"/>
                <a:gd name="connsiteY21" fmla="*/ 603281 h 1108105"/>
                <a:gd name="connsiteX22" fmla="*/ 758480 w 1678930"/>
                <a:gd name="connsiteY22" fmla="*/ 691417 h 1108105"/>
                <a:gd name="connsiteX23" fmla="*/ 839487 w 1678930"/>
                <a:gd name="connsiteY23" fmla="*/ 610546 h 1108105"/>
                <a:gd name="connsiteX24" fmla="*/ 920493 w 1678930"/>
                <a:gd name="connsiteY24" fmla="*/ 691417 h 1108105"/>
                <a:gd name="connsiteX25" fmla="*/ 839487 w 1678930"/>
                <a:gd name="connsiteY25" fmla="*/ 772287 h 1108105"/>
                <a:gd name="connsiteX26" fmla="*/ 758480 w 1678930"/>
                <a:gd name="connsiteY26" fmla="*/ 691417 h 110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78930" h="1108105">
                  <a:moveTo>
                    <a:pt x="85717" y="928546"/>
                  </a:moveTo>
                  <a:cubicBezTo>
                    <a:pt x="291665" y="1045054"/>
                    <a:pt x="559397" y="1108106"/>
                    <a:pt x="839487" y="1108106"/>
                  </a:cubicBezTo>
                  <a:cubicBezTo>
                    <a:pt x="1119576" y="1108106"/>
                    <a:pt x="1385935" y="1043683"/>
                    <a:pt x="1593256" y="928546"/>
                  </a:cubicBezTo>
                  <a:cubicBezTo>
                    <a:pt x="1646157" y="899412"/>
                    <a:pt x="1678986" y="843844"/>
                    <a:pt x="1678931" y="783527"/>
                  </a:cubicBezTo>
                  <a:cubicBezTo>
                    <a:pt x="1678931" y="778866"/>
                    <a:pt x="1678931" y="774206"/>
                    <a:pt x="1678931" y="769820"/>
                  </a:cubicBezTo>
                  <a:cubicBezTo>
                    <a:pt x="1639649" y="307129"/>
                    <a:pt x="1232089" y="-36165"/>
                    <a:pt x="768623" y="3052"/>
                  </a:cubicBezTo>
                  <a:cubicBezTo>
                    <a:pt x="359758" y="37648"/>
                    <a:pt x="35380" y="361378"/>
                    <a:pt x="592" y="769546"/>
                  </a:cubicBezTo>
                  <a:cubicBezTo>
                    <a:pt x="-4920" y="834666"/>
                    <a:pt x="28420" y="896939"/>
                    <a:pt x="85717" y="928546"/>
                  </a:cubicBezTo>
                  <a:close/>
                  <a:moveTo>
                    <a:pt x="148874" y="603281"/>
                  </a:moveTo>
                  <a:cubicBezTo>
                    <a:pt x="307777" y="677159"/>
                    <a:pt x="478224" y="723200"/>
                    <a:pt x="652760" y="739391"/>
                  </a:cubicBezTo>
                  <a:cubicBezTo>
                    <a:pt x="679026" y="842077"/>
                    <a:pt x="783701" y="904064"/>
                    <a:pt x="886559" y="877842"/>
                  </a:cubicBezTo>
                  <a:cubicBezTo>
                    <a:pt x="989418" y="851621"/>
                    <a:pt x="1051510" y="747121"/>
                    <a:pt x="1025245" y="644435"/>
                  </a:cubicBezTo>
                  <a:cubicBezTo>
                    <a:pt x="998980" y="541748"/>
                    <a:pt x="894303" y="479760"/>
                    <a:pt x="791444" y="505983"/>
                  </a:cubicBezTo>
                  <a:cubicBezTo>
                    <a:pt x="728644" y="521991"/>
                    <a:pt x="678155" y="568519"/>
                    <a:pt x="657154" y="629736"/>
                  </a:cubicBezTo>
                  <a:cubicBezTo>
                    <a:pt x="496469" y="614380"/>
                    <a:pt x="339629" y="571538"/>
                    <a:pt x="193496" y="503084"/>
                  </a:cubicBezTo>
                  <a:cubicBezTo>
                    <a:pt x="321203" y="265119"/>
                    <a:pt x="569073" y="115963"/>
                    <a:pt x="839487" y="114357"/>
                  </a:cubicBezTo>
                  <a:cubicBezTo>
                    <a:pt x="1217101" y="117051"/>
                    <a:pt x="1531733" y="403943"/>
                    <a:pt x="1568543" y="779141"/>
                  </a:cubicBezTo>
                  <a:cubicBezTo>
                    <a:pt x="1569984" y="801003"/>
                    <a:pt x="1558794" y="821769"/>
                    <a:pt x="1539710" y="832597"/>
                  </a:cubicBezTo>
                  <a:cubicBezTo>
                    <a:pt x="1348865" y="938140"/>
                    <a:pt x="1100354" y="997080"/>
                    <a:pt x="839487" y="997080"/>
                  </a:cubicBezTo>
                  <a:cubicBezTo>
                    <a:pt x="578619" y="997080"/>
                    <a:pt x="330109" y="939511"/>
                    <a:pt x="139263" y="832597"/>
                  </a:cubicBezTo>
                  <a:cubicBezTo>
                    <a:pt x="120184" y="821769"/>
                    <a:pt x="108984" y="801003"/>
                    <a:pt x="110431" y="779141"/>
                  </a:cubicBezTo>
                  <a:cubicBezTo>
                    <a:pt x="115761" y="719136"/>
                    <a:pt x="128679" y="660047"/>
                    <a:pt x="148874" y="603281"/>
                  </a:cubicBezTo>
                  <a:close/>
                  <a:moveTo>
                    <a:pt x="758480" y="691417"/>
                  </a:moveTo>
                  <a:cubicBezTo>
                    <a:pt x="758556" y="646784"/>
                    <a:pt x="794779" y="610621"/>
                    <a:pt x="839487" y="610546"/>
                  </a:cubicBezTo>
                  <a:cubicBezTo>
                    <a:pt x="884225" y="610546"/>
                    <a:pt x="920493" y="646753"/>
                    <a:pt x="920493" y="691417"/>
                  </a:cubicBezTo>
                  <a:cubicBezTo>
                    <a:pt x="920493" y="736080"/>
                    <a:pt x="884225" y="772287"/>
                    <a:pt x="839487" y="772287"/>
                  </a:cubicBezTo>
                  <a:cubicBezTo>
                    <a:pt x="794748" y="772287"/>
                    <a:pt x="758480" y="736080"/>
                    <a:pt x="758480" y="691417"/>
                  </a:cubicBezTo>
                  <a:close/>
                </a:path>
              </a:pathLst>
            </a:custGeom>
            <a:grpFill/>
            <a:ln w="13721"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EE0EF8C-6F00-5541-B29B-489BB5B7AE9B}"/>
                </a:ext>
              </a:extLst>
            </p:cNvPr>
            <p:cNvSpPr/>
            <p:nvPr/>
          </p:nvSpPr>
          <p:spPr>
            <a:xfrm>
              <a:off x="9415641" y="2612977"/>
              <a:ext cx="616604" cy="799500"/>
            </a:xfrm>
            <a:custGeom>
              <a:avLst/>
              <a:gdLst>
                <a:gd name="connsiteX0" fmla="*/ 175799 w 616604"/>
                <a:gd name="connsiteY0" fmla="*/ 770556 h 799500"/>
                <a:gd name="connsiteX1" fmla="*/ 318590 w 616604"/>
                <a:gd name="connsiteY1" fmla="*/ 799341 h 799500"/>
                <a:gd name="connsiteX2" fmla="*/ 458634 w 616604"/>
                <a:gd name="connsiteY2" fmla="*/ 770556 h 799500"/>
                <a:gd name="connsiteX3" fmla="*/ 550624 w 616604"/>
                <a:gd name="connsiteY3" fmla="*/ 702022 h 799500"/>
                <a:gd name="connsiteX4" fmla="*/ 601425 w 616604"/>
                <a:gd name="connsiteY4" fmla="*/ 619781 h 799500"/>
                <a:gd name="connsiteX5" fmla="*/ 616528 w 616604"/>
                <a:gd name="connsiteY5" fmla="*/ 549876 h 799500"/>
                <a:gd name="connsiteX6" fmla="*/ 610363 w 616604"/>
                <a:gd name="connsiteY6" fmla="*/ 541651 h 799500"/>
                <a:gd name="connsiteX7" fmla="*/ 608290 w 616604"/>
                <a:gd name="connsiteY7" fmla="*/ 541651 h 799500"/>
                <a:gd name="connsiteX8" fmla="*/ 512181 w 616604"/>
                <a:gd name="connsiteY8" fmla="*/ 541651 h 799500"/>
                <a:gd name="connsiteX9" fmla="*/ 501197 w 616604"/>
                <a:gd name="connsiteY9" fmla="*/ 549876 h 799500"/>
                <a:gd name="connsiteX10" fmla="*/ 483348 w 616604"/>
                <a:gd name="connsiteY10" fmla="*/ 597850 h 799500"/>
                <a:gd name="connsiteX11" fmla="*/ 451769 w 616604"/>
                <a:gd name="connsiteY11" fmla="*/ 647194 h 799500"/>
                <a:gd name="connsiteX12" fmla="*/ 399596 w 616604"/>
                <a:gd name="connsiteY12" fmla="*/ 685574 h 799500"/>
                <a:gd name="connsiteX13" fmla="*/ 319963 w 616604"/>
                <a:gd name="connsiteY13" fmla="*/ 700651 h 799500"/>
                <a:gd name="connsiteX14" fmla="*/ 171680 w 616604"/>
                <a:gd name="connsiteY14" fmla="*/ 621151 h 799500"/>
                <a:gd name="connsiteX15" fmla="*/ 119507 w 616604"/>
                <a:gd name="connsiteY15" fmla="*/ 400470 h 799500"/>
                <a:gd name="connsiteX16" fmla="*/ 171680 w 616604"/>
                <a:gd name="connsiteY16" fmla="*/ 179790 h 799500"/>
                <a:gd name="connsiteX17" fmla="*/ 319963 w 616604"/>
                <a:gd name="connsiteY17" fmla="*/ 100290 h 799500"/>
                <a:gd name="connsiteX18" fmla="*/ 453143 w 616604"/>
                <a:gd name="connsiteY18" fmla="*/ 157859 h 799500"/>
                <a:gd name="connsiteX19" fmla="*/ 483348 w 616604"/>
                <a:gd name="connsiteY19" fmla="*/ 207204 h 799500"/>
                <a:gd name="connsiteX20" fmla="*/ 499824 w 616604"/>
                <a:gd name="connsiteY20" fmla="*/ 251065 h 799500"/>
                <a:gd name="connsiteX21" fmla="*/ 510808 w 616604"/>
                <a:gd name="connsiteY21" fmla="*/ 259290 h 799500"/>
                <a:gd name="connsiteX22" fmla="*/ 606917 w 616604"/>
                <a:gd name="connsiteY22" fmla="*/ 259290 h 799500"/>
                <a:gd name="connsiteX23" fmla="*/ 615155 w 616604"/>
                <a:gd name="connsiteY23" fmla="*/ 249695 h 799500"/>
                <a:gd name="connsiteX24" fmla="*/ 601425 w 616604"/>
                <a:gd name="connsiteY24" fmla="*/ 183902 h 799500"/>
                <a:gd name="connsiteX25" fmla="*/ 553371 w 616604"/>
                <a:gd name="connsiteY25" fmla="*/ 101661 h 799500"/>
                <a:gd name="connsiteX26" fmla="*/ 461380 w 616604"/>
                <a:gd name="connsiteY26" fmla="*/ 30385 h 799500"/>
                <a:gd name="connsiteX27" fmla="*/ 317217 w 616604"/>
                <a:gd name="connsiteY27" fmla="*/ 230 h 799500"/>
                <a:gd name="connsiteX28" fmla="*/ 174426 w 616604"/>
                <a:gd name="connsiteY28" fmla="*/ 30385 h 799500"/>
                <a:gd name="connsiteX29" fmla="*/ 75571 w 616604"/>
                <a:gd name="connsiteY29" fmla="*/ 113997 h 799500"/>
                <a:gd name="connsiteX30" fmla="*/ 17906 w 616604"/>
                <a:gd name="connsiteY30" fmla="*/ 240100 h 799500"/>
                <a:gd name="connsiteX31" fmla="*/ 57 w 616604"/>
                <a:gd name="connsiteY31" fmla="*/ 400470 h 799500"/>
                <a:gd name="connsiteX32" fmla="*/ 17906 w 616604"/>
                <a:gd name="connsiteY32" fmla="*/ 562212 h 799500"/>
                <a:gd name="connsiteX33" fmla="*/ 75571 w 616604"/>
                <a:gd name="connsiteY33" fmla="*/ 688315 h 799500"/>
                <a:gd name="connsiteX34" fmla="*/ 175799 w 616604"/>
                <a:gd name="connsiteY34" fmla="*/ 770556 h 79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6604" h="799500">
                  <a:moveTo>
                    <a:pt x="175799" y="770556"/>
                  </a:moveTo>
                  <a:cubicBezTo>
                    <a:pt x="220627" y="790746"/>
                    <a:pt x="269437" y="800585"/>
                    <a:pt x="318590" y="799341"/>
                  </a:cubicBezTo>
                  <a:cubicBezTo>
                    <a:pt x="366892" y="800899"/>
                    <a:pt x="414877" y="791036"/>
                    <a:pt x="458634" y="770556"/>
                  </a:cubicBezTo>
                  <a:cubicBezTo>
                    <a:pt x="493165" y="753391"/>
                    <a:pt x="524318" y="730179"/>
                    <a:pt x="550624" y="702022"/>
                  </a:cubicBezTo>
                  <a:cubicBezTo>
                    <a:pt x="572222" y="677768"/>
                    <a:pt x="589411" y="649936"/>
                    <a:pt x="601425" y="619781"/>
                  </a:cubicBezTo>
                  <a:cubicBezTo>
                    <a:pt x="610734" y="597610"/>
                    <a:pt x="615855" y="573908"/>
                    <a:pt x="616528" y="549876"/>
                  </a:cubicBezTo>
                  <a:cubicBezTo>
                    <a:pt x="617105" y="545905"/>
                    <a:pt x="614345" y="542222"/>
                    <a:pt x="610363" y="541651"/>
                  </a:cubicBezTo>
                  <a:cubicBezTo>
                    <a:pt x="609677" y="541553"/>
                    <a:pt x="608976" y="541553"/>
                    <a:pt x="608290" y="541651"/>
                  </a:cubicBezTo>
                  <a:lnTo>
                    <a:pt x="512181" y="541651"/>
                  </a:lnTo>
                  <a:cubicBezTo>
                    <a:pt x="506977" y="541263"/>
                    <a:pt x="502282" y="544777"/>
                    <a:pt x="501197" y="549876"/>
                  </a:cubicBezTo>
                  <a:cubicBezTo>
                    <a:pt x="496405" y="566270"/>
                    <a:pt x="490433" y="582303"/>
                    <a:pt x="483348" y="597850"/>
                  </a:cubicBezTo>
                  <a:cubicBezTo>
                    <a:pt x="475975" y="616109"/>
                    <a:pt x="465266" y="632842"/>
                    <a:pt x="451769" y="647194"/>
                  </a:cubicBezTo>
                  <a:cubicBezTo>
                    <a:pt x="436694" y="662867"/>
                    <a:pt x="419051" y="675849"/>
                    <a:pt x="399596" y="685574"/>
                  </a:cubicBezTo>
                  <a:cubicBezTo>
                    <a:pt x="374635" y="696864"/>
                    <a:pt x="347326" y="702034"/>
                    <a:pt x="319963" y="700651"/>
                  </a:cubicBezTo>
                  <a:cubicBezTo>
                    <a:pt x="259689" y="703257"/>
                    <a:pt x="202792" y="672758"/>
                    <a:pt x="171680" y="621151"/>
                  </a:cubicBezTo>
                  <a:cubicBezTo>
                    <a:pt x="137356" y="567694"/>
                    <a:pt x="119507" y="493677"/>
                    <a:pt x="119507" y="400470"/>
                  </a:cubicBezTo>
                  <a:cubicBezTo>
                    <a:pt x="119507" y="307264"/>
                    <a:pt x="137356" y="231876"/>
                    <a:pt x="171680" y="179790"/>
                  </a:cubicBezTo>
                  <a:cubicBezTo>
                    <a:pt x="203300" y="128708"/>
                    <a:pt x="259840" y="98390"/>
                    <a:pt x="319963" y="100290"/>
                  </a:cubicBezTo>
                  <a:cubicBezTo>
                    <a:pt x="370997" y="97270"/>
                    <a:pt x="420424" y="118638"/>
                    <a:pt x="453143" y="157859"/>
                  </a:cubicBezTo>
                  <a:cubicBezTo>
                    <a:pt x="465939" y="172474"/>
                    <a:pt x="476154" y="189163"/>
                    <a:pt x="483348" y="207204"/>
                  </a:cubicBezTo>
                  <a:cubicBezTo>
                    <a:pt x="490213" y="225022"/>
                    <a:pt x="495705" y="238729"/>
                    <a:pt x="499824" y="251065"/>
                  </a:cubicBezTo>
                  <a:cubicBezTo>
                    <a:pt x="500909" y="256164"/>
                    <a:pt x="505604" y="259678"/>
                    <a:pt x="510808" y="259290"/>
                  </a:cubicBezTo>
                  <a:lnTo>
                    <a:pt x="606917" y="259290"/>
                  </a:lnTo>
                  <a:cubicBezTo>
                    <a:pt x="612409" y="259290"/>
                    <a:pt x="615155" y="256548"/>
                    <a:pt x="615155" y="249695"/>
                  </a:cubicBezTo>
                  <a:cubicBezTo>
                    <a:pt x="613933" y="227196"/>
                    <a:pt x="609306" y="205013"/>
                    <a:pt x="601425" y="183902"/>
                  </a:cubicBezTo>
                  <a:cubicBezTo>
                    <a:pt x="590455" y="153844"/>
                    <a:pt x="574171" y="125990"/>
                    <a:pt x="553371" y="101661"/>
                  </a:cubicBezTo>
                  <a:cubicBezTo>
                    <a:pt x="527490" y="72313"/>
                    <a:pt x="496282" y="48127"/>
                    <a:pt x="461380" y="30385"/>
                  </a:cubicBezTo>
                  <a:cubicBezTo>
                    <a:pt x="416539" y="8648"/>
                    <a:pt x="367029" y="-1709"/>
                    <a:pt x="317217" y="230"/>
                  </a:cubicBezTo>
                  <a:cubicBezTo>
                    <a:pt x="267886" y="-1264"/>
                    <a:pt x="218925" y="9076"/>
                    <a:pt x="174426" y="30385"/>
                  </a:cubicBezTo>
                  <a:cubicBezTo>
                    <a:pt x="135337" y="50099"/>
                    <a:pt x="101466" y="78747"/>
                    <a:pt x="75571" y="113997"/>
                  </a:cubicBezTo>
                  <a:cubicBezTo>
                    <a:pt x="48496" y="151994"/>
                    <a:pt x="28931" y="194791"/>
                    <a:pt x="17906" y="240100"/>
                  </a:cubicBezTo>
                  <a:cubicBezTo>
                    <a:pt x="5343" y="292615"/>
                    <a:pt x="-657" y="346483"/>
                    <a:pt x="57" y="400470"/>
                  </a:cubicBezTo>
                  <a:cubicBezTo>
                    <a:pt x="-657" y="454910"/>
                    <a:pt x="5343" y="509232"/>
                    <a:pt x="17906" y="562212"/>
                  </a:cubicBezTo>
                  <a:cubicBezTo>
                    <a:pt x="28382" y="607709"/>
                    <a:pt x="48002" y="650610"/>
                    <a:pt x="75571" y="688315"/>
                  </a:cubicBezTo>
                  <a:cubicBezTo>
                    <a:pt x="102042" y="723211"/>
                    <a:pt x="136381" y="751386"/>
                    <a:pt x="175799" y="770556"/>
                  </a:cubicBezTo>
                  <a:close/>
                </a:path>
              </a:pathLst>
            </a:custGeom>
            <a:grpFill/>
            <a:ln w="13721"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FBB23089-DA42-5743-BB1B-882E530432F1}"/>
                </a:ext>
              </a:extLst>
            </p:cNvPr>
            <p:cNvSpPr/>
            <p:nvPr/>
          </p:nvSpPr>
          <p:spPr>
            <a:xfrm>
              <a:off x="10201545" y="2613192"/>
              <a:ext cx="539096" cy="788159"/>
            </a:xfrm>
            <a:custGeom>
              <a:avLst/>
              <a:gdLst>
                <a:gd name="connsiteX0" fmla="*/ 7739 w 539096"/>
                <a:gd name="connsiteY0" fmla="*/ 788160 h 788159"/>
                <a:gd name="connsiteX1" fmla="*/ 529474 w 539096"/>
                <a:gd name="connsiteY1" fmla="*/ 788160 h 788159"/>
                <a:gd name="connsiteX2" fmla="*/ 539085 w 539096"/>
                <a:gd name="connsiteY2" fmla="*/ 779936 h 788159"/>
                <a:gd name="connsiteX3" fmla="*/ 539085 w 539096"/>
                <a:gd name="connsiteY3" fmla="*/ 697694 h 788159"/>
                <a:gd name="connsiteX4" fmla="*/ 529474 w 539096"/>
                <a:gd name="connsiteY4" fmla="*/ 689470 h 788159"/>
                <a:gd name="connsiteX5" fmla="*/ 156021 w 539096"/>
                <a:gd name="connsiteY5" fmla="*/ 689470 h 788159"/>
                <a:gd name="connsiteX6" fmla="*/ 156021 w 539096"/>
                <a:gd name="connsiteY6" fmla="*/ 686729 h 788159"/>
                <a:gd name="connsiteX7" fmla="*/ 410024 w 539096"/>
                <a:gd name="connsiteY7" fmla="*/ 464677 h 788159"/>
                <a:gd name="connsiteX8" fmla="*/ 447095 w 539096"/>
                <a:gd name="connsiteY8" fmla="*/ 429040 h 788159"/>
                <a:gd name="connsiteX9" fmla="*/ 523982 w 539096"/>
                <a:gd name="connsiteY9" fmla="*/ 313902 h 788159"/>
                <a:gd name="connsiteX10" fmla="*/ 539085 w 539096"/>
                <a:gd name="connsiteY10" fmla="*/ 235773 h 788159"/>
                <a:gd name="connsiteX11" fmla="*/ 521236 w 539096"/>
                <a:gd name="connsiteY11" fmla="*/ 145307 h 788159"/>
                <a:gd name="connsiteX12" fmla="*/ 469062 w 539096"/>
                <a:gd name="connsiteY12" fmla="*/ 69919 h 788159"/>
                <a:gd name="connsiteX13" fmla="*/ 385310 w 539096"/>
                <a:gd name="connsiteY13" fmla="*/ 19204 h 788159"/>
                <a:gd name="connsiteX14" fmla="*/ 272725 w 539096"/>
                <a:gd name="connsiteY14" fmla="*/ 14 h 788159"/>
                <a:gd name="connsiteX15" fmla="*/ 169751 w 539096"/>
                <a:gd name="connsiteY15" fmla="*/ 16463 h 788159"/>
                <a:gd name="connsiteX16" fmla="*/ 87372 w 539096"/>
                <a:gd name="connsiteY16" fmla="*/ 63066 h 788159"/>
                <a:gd name="connsiteX17" fmla="*/ 32453 w 539096"/>
                <a:gd name="connsiteY17" fmla="*/ 134342 h 788159"/>
                <a:gd name="connsiteX18" fmla="*/ 13231 w 539096"/>
                <a:gd name="connsiteY18" fmla="*/ 226178 h 788159"/>
                <a:gd name="connsiteX19" fmla="*/ 22842 w 539096"/>
                <a:gd name="connsiteY19" fmla="*/ 234402 h 788159"/>
                <a:gd name="connsiteX20" fmla="*/ 120324 w 539096"/>
                <a:gd name="connsiteY20" fmla="*/ 234402 h 788159"/>
                <a:gd name="connsiteX21" fmla="*/ 129935 w 539096"/>
                <a:gd name="connsiteY21" fmla="*/ 226178 h 788159"/>
                <a:gd name="connsiteX22" fmla="*/ 139546 w 539096"/>
                <a:gd name="connsiteY22" fmla="*/ 179574 h 788159"/>
                <a:gd name="connsiteX23" fmla="*/ 168378 w 539096"/>
                <a:gd name="connsiteY23" fmla="*/ 139824 h 788159"/>
                <a:gd name="connsiteX24" fmla="*/ 213687 w 539096"/>
                <a:gd name="connsiteY24" fmla="*/ 111040 h 788159"/>
                <a:gd name="connsiteX25" fmla="*/ 272725 w 539096"/>
                <a:gd name="connsiteY25" fmla="*/ 100074 h 788159"/>
                <a:gd name="connsiteX26" fmla="*/ 340002 w 539096"/>
                <a:gd name="connsiteY26" fmla="*/ 113781 h 788159"/>
                <a:gd name="connsiteX27" fmla="*/ 386683 w 539096"/>
                <a:gd name="connsiteY27" fmla="*/ 148049 h 788159"/>
                <a:gd name="connsiteX28" fmla="*/ 414143 w 539096"/>
                <a:gd name="connsiteY28" fmla="*/ 191911 h 788159"/>
                <a:gd name="connsiteX29" fmla="*/ 423754 w 539096"/>
                <a:gd name="connsiteY29" fmla="*/ 235773 h 788159"/>
                <a:gd name="connsiteX30" fmla="*/ 412770 w 539096"/>
                <a:gd name="connsiteY30" fmla="*/ 283747 h 788159"/>
                <a:gd name="connsiteX31" fmla="*/ 385310 w 539096"/>
                <a:gd name="connsiteY31" fmla="*/ 328979 h 788159"/>
                <a:gd name="connsiteX32" fmla="*/ 352359 w 539096"/>
                <a:gd name="connsiteY32" fmla="*/ 364617 h 788159"/>
                <a:gd name="connsiteX33" fmla="*/ 6366 w 539096"/>
                <a:gd name="connsiteY33" fmla="*/ 685358 h 788159"/>
                <a:gd name="connsiteX34" fmla="*/ 2247 w 539096"/>
                <a:gd name="connsiteY34" fmla="*/ 693582 h 788159"/>
                <a:gd name="connsiteX35" fmla="*/ 874 w 539096"/>
                <a:gd name="connsiteY35" fmla="*/ 701807 h 788159"/>
                <a:gd name="connsiteX36" fmla="*/ 874 w 539096"/>
                <a:gd name="connsiteY36" fmla="*/ 778565 h 788159"/>
                <a:gd name="connsiteX37" fmla="*/ 7739 w 539096"/>
                <a:gd name="connsiteY37" fmla="*/ 788160 h 78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39096" h="788159">
                  <a:moveTo>
                    <a:pt x="7739" y="788160"/>
                  </a:moveTo>
                  <a:lnTo>
                    <a:pt x="529474" y="788160"/>
                  </a:lnTo>
                  <a:cubicBezTo>
                    <a:pt x="534966" y="788160"/>
                    <a:pt x="539085" y="785418"/>
                    <a:pt x="539085" y="779936"/>
                  </a:cubicBezTo>
                  <a:lnTo>
                    <a:pt x="539085" y="697694"/>
                  </a:lnTo>
                  <a:cubicBezTo>
                    <a:pt x="539085" y="692212"/>
                    <a:pt x="536339" y="689470"/>
                    <a:pt x="529474" y="689470"/>
                  </a:cubicBezTo>
                  <a:lnTo>
                    <a:pt x="156021" y="689470"/>
                  </a:lnTo>
                  <a:lnTo>
                    <a:pt x="156021" y="686729"/>
                  </a:lnTo>
                  <a:lnTo>
                    <a:pt x="410024" y="464677"/>
                  </a:lnTo>
                  <a:cubicBezTo>
                    <a:pt x="419635" y="455083"/>
                    <a:pt x="431992" y="442746"/>
                    <a:pt x="447095" y="429040"/>
                  </a:cubicBezTo>
                  <a:cubicBezTo>
                    <a:pt x="480486" y="396436"/>
                    <a:pt x="506682" y="357216"/>
                    <a:pt x="523982" y="313902"/>
                  </a:cubicBezTo>
                  <a:cubicBezTo>
                    <a:pt x="534115" y="289105"/>
                    <a:pt x="539249" y="262554"/>
                    <a:pt x="539085" y="235773"/>
                  </a:cubicBezTo>
                  <a:cubicBezTo>
                    <a:pt x="539401" y="204716"/>
                    <a:pt x="533332" y="173923"/>
                    <a:pt x="521236" y="145307"/>
                  </a:cubicBezTo>
                  <a:cubicBezTo>
                    <a:pt x="508865" y="117061"/>
                    <a:pt x="491154" y="91464"/>
                    <a:pt x="469062" y="69919"/>
                  </a:cubicBezTo>
                  <a:cubicBezTo>
                    <a:pt x="444719" y="47729"/>
                    <a:pt x="416271" y="30501"/>
                    <a:pt x="385310" y="19204"/>
                  </a:cubicBezTo>
                  <a:cubicBezTo>
                    <a:pt x="349228" y="6171"/>
                    <a:pt x="311100" y="-327"/>
                    <a:pt x="272725" y="14"/>
                  </a:cubicBezTo>
                  <a:cubicBezTo>
                    <a:pt x="237714" y="-320"/>
                    <a:pt x="202909" y="5239"/>
                    <a:pt x="169751" y="16463"/>
                  </a:cubicBezTo>
                  <a:cubicBezTo>
                    <a:pt x="139491" y="26448"/>
                    <a:pt x="111496" y="42284"/>
                    <a:pt x="87372" y="63066"/>
                  </a:cubicBezTo>
                  <a:cubicBezTo>
                    <a:pt x="64265" y="82716"/>
                    <a:pt x="45551" y="107001"/>
                    <a:pt x="32453" y="134342"/>
                  </a:cubicBezTo>
                  <a:cubicBezTo>
                    <a:pt x="19643" y="163262"/>
                    <a:pt x="13094" y="194556"/>
                    <a:pt x="13231" y="226178"/>
                  </a:cubicBezTo>
                  <a:cubicBezTo>
                    <a:pt x="13231" y="231661"/>
                    <a:pt x="15977" y="234402"/>
                    <a:pt x="22842" y="234402"/>
                  </a:cubicBezTo>
                  <a:lnTo>
                    <a:pt x="120324" y="234402"/>
                  </a:lnTo>
                  <a:cubicBezTo>
                    <a:pt x="125816" y="234402"/>
                    <a:pt x="129935" y="231661"/>
                    <a:pt x="129935" y="226178"/>
                  </a:cubicBezTo>
                  <a:cubicBezTo>
                    <a:pt x="129688" y="210128"/>
                    <a:pt x="132969" y="194219"/>
                    <a:pt x="139546" y="179574"/>
                  </a:cubicBezTo>
                  <a:cubicBezTo>
                    <a:pt x="146273" y="164460"/>
                    <a:pt x="156090" y="150919"/>
                    <a:pt x="168378" y="139824"/>
                  </a:cubicBezTo>
                  <a:cubicBezTo>
                    <a:pt x="181642" y="127605"/>
                    <a:pt x="196978" y="117855"/>
                    <a:pt x="213687" y="111040"/>
                  </a:cubicBezTo>
                  <a:cubicBezTo>
                    <a:pt x="232511" y="103731"/>
                    <a:pt x="252529" y="100011"/>
                    <a:pt x="272725" y="100074"/>
                  </a:cubicBezTo>
                  <a:cubicBezTo>
                    <a:pt x="295929" y="99140"/>
                    <a:pt x="319023" y="103844"/>
                    <a:pt x="340002" y="113781"/>
                  </a:cubicBezTo>
                  <a:cubicBezTo>
                    <a:pt x="357892" y="121649"/>
                    <a:pt x="373832" y="133348"/>
                    <a:pt x="386683" y="148049"/>
                  </a:cubicBezTo>
                  <a:cubicBezTo>
                    <a:pt x="398065" y="161155"/>
                    <a:pt x="407333" y="175953"/>
                    <a:pt x="414143" y="191911"/>
                  </a:cubicBezTo>
                  <a:cubicBezTo>
                    <a:pt x="419676" y="205926"/>
                    <a:pt x="422916" y="220733"/>
                    <a:pt x="423754" y="235773"/>
                  </a:cubicBezTo>
                  <a:cubicBezTo>
                    <a:pt x="423548" y="252361"/>
                    <a:pt x="419800" y="268714"/>
                    <a:pt x="412770" y="283747"/>
                  </a:cubicBezTo>
                  <a:cubicBezTo>
                    <a:pt x="405782" y="300029"/>
                    <a:pt x="396528" y="315255"/>
                    <a:pt x="385310" y="328979"/>
                  </a:cubicBezTo>
                  <a:cubicBezTo>
                    <a:pt x="375370" y="341784"/>
                    <a:pt x="364345" y="353708"/>
                    <a:pt x="352359" y="364617"/>
                  </a:cubicBezTo>
                  <a:lnTo>
                    <a:pt x="6366" y="685358"/>
                  </a:lnTo>
                  <a:cubicBezTo>
                    <a:pt x="3702" y="687239"/>
                    <a:pt x="2151" y="690326"/>
                    <a:pt x="2247" y="693582"/>
                  </a:cubicBezTo>
                  <a:cubicBezTo>
                    <a:pt x="1231" y="696200"/>
                    <a:pt x="764" y="698999"/>
                    <a:pt x="874" y="701807"/>
                  </a:cubicBezTo>
                  <a:lnTo>
                    <a:pt x="874" y="778565"/>
                  </a:lnTo>
                  <a:cubicBezTo>
                    <a:pt x="-1872" y="785418"/>
                    <a:pt x="2247" y="788160"/>
                    <a:pt x="7739" y="788160"/>
                  </a:cubicBezTo>
                  <a:close/>
                </a:path>
              </a:pathLst>
            </a:custGeom>
            <a:grpFill/>
            <a:ln w="13721"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D6A9D192-79AE-D645-B475-99CC9FFC6176}"/>
                </a:ext>
              </a:extLst>
            </p:cNvPr>
            <p:cNvSpPr/>
            <p:nvPr/>
          </p:nvSpPr>
          <p:spPr>
            <a:xfrm>
              <a:off x="9495270" y="3569885"/>
              <a:ext cx="546549" cy="780044"/>
            </a:xfrm>
            <a:custGeom>
              <a:avLst/>
              <a:gdLst>
                <a:gd name="connsiteX0" fmla="*/ 479234 w 546549"/>
                <a:gd name="connsiteY0" fmla="*/ 68595 h 780044"/>
                <a:gd name="connsiteX1" fmla="*/ 406466 w 546549"/>
                <a:gd name="connsiteY1" fmla="*/ 17880 h 780044"/>
                <a:gd name="connsiteX2" fmla="*/ 319968 w 546549"/>
                <a:gd name="connsiteY2" fmla="*/ 61 h 780044"/>
                <a:gd name="connsiteX3" fmla="*/ 9673 w 546549"/>
                <a:gd name="connsiteY3" fmla="*/ 61 h 780044"/>
                <a:gd name="connsiteX4" fmla="*/ 62 w 546549"/>
                <a:gd name="connsiteY4" fmla="*/ 7614 h 780044"/>
                <a:gd name="connsiteX5" fmla="*/ 62 w 546549"/>
                <a:gd name="connsiteY5" fmla="*/ 9656 h 780044"/>
                <a:gd name="connsiteX6" fmla="*/ 62 w 546549"/>
                <a:gd name="connsiteY6" fmla="*/ 770388 h 780044"/>
                <a:gd name="connsiteX7" fmla="*/ 7627 w 546549"/>
                <a:gd name="connsiteY7" fmla="*/ 779982 h 780044"/>
                <a:gd name="connsiteX8" fmla="*/ 9673 w 546549"/>
                <a:gd name="connsiteY8" fmla="*/ 779982 h 780044"/>
                <a:gd name="connsiteX9" fmla="*/ 103036 w 546549"/>
                <a:gd name="connsiteY9" fmla="*/ 779982 h 780044"/>
                <a:gd name="connsiteX10" fmla="*/ 112647 w 546549"/>
                <a:gd name="connsiteY10" fmla="*/ 772430 h 780044"/>
                <a:gd name="connsiteX11" fmla="*/ 112647 w 546549"/>
                <a:gd name="connsiteY11" fmla="*/ 770388 h 780044"/>
                <a:gd name="connsiteX12" fmla="*/ 112647 w 546549"/>
                <a:gd name="connsiteY12" fmla="*/ 474319 h 780044"/>
                <a:gd name="connsiteX13" fmla="*/ 114020 w 546549"/>
                <a:gd name="connsiteY13" fmla="*/ 471578 h 780044"/>
                <a:gd name="connsiteX14" fmla="*/ 319968 w 546549"/>
                <a:gd name="connsiteY14" fmla="*/ 471578 h 780044"/>
                <a:gd name="connsiteX15" fmla="*/ 406466 w 546549"/>
                <a:gd name="connsiteY15" fmla="*/ 453759 h 780044"/>
                <a:gd name="connsiteX16" fmla="*/ 479234 w 546549"/>
                <a:gd name="connsiteY16" fmla="*/ 404414 h 780044"/>
                <a:gd name="connsiteX17" fmla="*/ 528662 w 546549"/>
                <a:gd name="connsiteY17" fmla="*/ 330397 h 780044"/>
                <a:gd name="connsiteX18" fmla="*/ 546510 w 546549"/>
                <a:gd name="connsiteY18" fmla="*/ 238561 h 780044"/>
                <a:gd name="connsiteX19" fmla="*/ 528662 w 546549"/>
                <a:gd name="connsiteY19" fmla="*/ 145354 h 780044"/>
                <a:gd name="connsiteX20" fmla="*/ 479234 w 546549"/>
                <a:gd name="connsiteY20" fmla="*/ 68595 h 780044"/>
                <a:gd name="connsiteX21" fmla="*/ 435299 w 546549"/>
                <a:gd name="connsiteY21" fmla="*/ 237190 h 780044"/>
                <a:gd name="connsiteX22" fmla="*/ 424315 w 546549"/>
                <a:gd name="connsiteY22" fmla="*/ 289276 h 780044"/>
                <a:gd name="connsiteX23" fmla="*/ 395482 w 546549"/>
                <a:gd name="connsiteY23" fmla="*/ 331768 h 780044"/>
                <a:gd name="connsiteX24" fmla="*/ 354292 w 546549"/>
                <a:gd name="connsiteY24" fmla="*/ 360552 h 780044"/>
                <a:gd name="connsiteX25" fmla="*/ 306238 w 546549"/>
                <a:gd name="connsiteY25" fmla="*/ 371517 h 780044"/>
                <a:gd name="connsiteX26" fmla="*/ 114020 w 546549"/>
                <a:gd name="connsiteY26" fmla="*/ 371517 h 780044"/>
                <a:gd name="connsiteX27" fmla="*/ 112647 w 546549"/>
                <a:gd name="connsiteY27" fmla="*/ 370147 h 780044"/>
                <a:gd name="connsiteX28" fmla="*/ 112647 w 546549"/>
                <a:gd name="connsiteY28" fmla="*/ 102863 h 780044"/>
                <a:gd name="connsiteX29" fmla="*/ 114020 w 546549"/>
                <a:gd name="connsiteY29" fmla="*/ 101492 h 780044"/>
                <a:gd name="connsiteX30" fmla="*/ 306238 w 546549"/>
                <a:gd name="connsiteY30" fmla="*/ 101492 h 780044"/>
                <a:gd name="connsiteX31" fmla="*/ 354292 w 546549"/>
                <a:gd name="connsiteY31" fmla="*/ 112457 h 780044"/>
                <a:gd name="connsiteX32" fmla="*/ 395482 w 546549"/>
                <a:gd name="connsiteY32" fmla="*/ 142613 h 780044"/>
                <a:gd name="connsiteX33" fmla="*/ 424315 w 546549"/>
                <a:gd name="connsiteY33" fmla="*/ 186475 h 780044"/>
                <a:gd name="connsiteX34" fmla="*/ 435299 w 546549"/>
                <a:gd name="connsiteY34" fmla="*/ 237190 h 78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46549" h="780044">
                  <a:moveTo>
                    <a:pt x="479234" y="68595"/>
                  </a:moveTo>
                  <a:cubicBezTo>
                    <a:pt x="458598" y="47021"/>
                    <a:pt x="433857" y="29777"/>
                    <a:pt x="406466" y="17880"/>
                  </a:cubicBezTo>
                  <a:cubicBezTo>
                    <a:pt x="379239" y="5818"/>
                    <a:pt x="349748" y="-254"/>
                    <a:pt x="319968" y="61"/>
                  </a:cubicBezTo>
                  <a:lnTo>
                    <a:pt x="9673" y="61"/>
                  </a:lnTo>
                  <a:cubicBezTo>
                    <a:pt x="4922" y="-501"/>
                    <a:pt x="625" y="2885"/>
                    <a:pt x="62" y="7614"/>
                  </a:cubicBezTo>
                  <a:cubicBezTo>
                    <a:pt x="-21" y="8299"/>
                    <a:pt x="-21" y="8984"/>
                    <a:pt x="62" y="9656"/>
                  </a:cubicBezTo>
                  <a:lnTo>
                    <a:pt x="62" y="770388"/>
                  </a:lnTo>
                  <a:cubicBezTo>
                    <a:pt x="-501" y="775130"/>
                    <a:pt x="2890" y="779420"/>
                    <a:pt x="7627" y="779982"/>
                  </a:cubicBezTo>
                  <a:cubicBezTo>
                    <a:pt x="8314" y="780065"/>
                    <a:pt x="9000" y="780065"/>
                    <a:pt x="9673" y="779982"/>
                  </a:cubicBezTo>
                  <a:lnTo>
                    <a:pt x="103036" y="779982"/>
                  </a:lnTo>
                  <a:cubicBezTo>
                    <a:pt x="107786" y="780544"/>
                    <a:pt x="112084" y="777159"/>
                    <a:pt x="112647" y="772430"/>
                  </a:cubicBezTo>
                  <a:cubicBezTo>
                    <a:pt x="112729" y="771745"/>
                    <a:pt x="112729" y="771059"/>
                    <a:pt x="112647" y="770388"/>
                  </a:cubicBezTo>
                  <a:lnTo>
                    <a:pt x="112647" y="474319"/>
                  </a:lnTo>
                  <a:cubicBezTo>
                    <a:pt x="112647" y="472948"/>
                    <a:pt x="112647" y="471578"/>
                    <a:pt x="114020" y="471578"/>
                  </a:cubicBezTo>
                  <a:lnTo>
                    <a:pt x="319968" y="471578"/>
                  </a:lnTo>
                  <a:cubicBezTo>
                    <a:pt x="349748" y="471893"/>
                    <a:pt x="379239" y="465821"/>
                    <a:pt x="406466" y="453759"/>
                  </a:cubicBezTo>
                  <a:cubicBezTo>
                    <a:pt x="433514" y="441847"/>
                    <a:pt x="458173" y="425139"/>
                    <a:pt x="479234" y="404414"/>
                  </a:cubicBezTo>
                  <a:cubicBezTo>
                    <a:pt x="500007" y="382894"/>
                    <a:pt x="516758" y="357824"/>
                    <a:pt x="528662" y="330397"/>
                  </a:cubicBezTo>
                  <a:cubicBezTo>
                    <a:pt x="541019" y="301379"/>
                    <a:pt x="547101" y="270087"/>
                    <a:pt x="546510" y="238561"/>
                  </a:cubicBezTo>
                  <a:cubicBezTo>
                    <a:pt x="546291" y="206665"/>
                    <a:pt x="540236" y="175084"/>
                    <a:pt x="528662" y="145354"/>
                  </a:cubicBezTo>
                  <a:cubicBezTo>
                    <a:pt x="517458" y="116748"/>
                    <a:pt x="500653" y="90650"/>
                    <a:pt x="479234" y="68595"/>
                  </a:cubicBezTo>
                  <a:close/>
                  <a:moveTo>
                    <a:pt x="435299" y="237190"/>
                  </a:moveTo>
                  <a:cubicBezTo>
                    <a:pt x="435079" y="255105"/>
                    <a:pt x="431344" y="272801"/>
                    <a:pt x="424315" y="289276"/>
                  </a:cubicBezTo>
                  <a:cubicBezTo>
                    <a:pt x="417642" y="305217"/>
                    <a:pt x="407839" y="319664"/>
                    <a:pt x="395482" y="331768"/>
                  </a:cubicBezTo>
                  <a:cubicBezTo>
                    <a:pt x="383606" y="343761"/>
                    <a:pt x="369656" y="353520"/>
                    <a:pt x="354292" y="360552"/>
                  </a:cubicBezTo>
                  <a:cubicBezTo>
                    <a:pt x="339231" y="367570"/>
                    <a:pt x="322851" y="371312"/>
                    <a:pt x="306238" y="371517"/>
                  </a:cubicBezTo>
                  <a:lnTo>
                    <a:pt x="114020" y="371517"/>
                  </a:lnTo>
                  <a:cubicBezTo>
                    <a:pt x="112647" y="371517"/>
                    <a:pt x="112647" y="371517"/>
                    <a:pt x="112647" y="370147"/>
                  </a:cubicBezTo>
                  <a:lnTo>
                    <a:pt x="112647" y="102863"/>
                  </a:lnTo>
                  <a:cubicBezTo>
                    <a:pt x="112647" y="101492"/>
                    <a:pt x="112647" y="101492"/>
                    <a:pt x="114020" y="101492"/>
                  </a:cubicBezTo>
                  <a:lnTo>
                    <a:pt x="306238" y="101492"/>
                  </a:lnTo>
                  <a:cubicBezTo>
                    <a:pt x="322851" y="101698"/>
                    <a:pt x="339231" y="105440"/>
                    <a:pt x="354292" y="112457"/>
                  </a:cubicBezTo>
                  <a:cubicBezTo>
                    <a:pt x="369697" y="119996"/>
                    <a:pt x="383647" y="130208"/>
                    <a:pt x="395482" y="142613"/>
                  </a:cubicBezTo>
                  <a:cubicBezTo>
                    <a:pt x="407866" y="155223"/>
                    <a:pt x="417656" y="170122"/>
                    <a:pt x="424315" y="186475"/>
                  </a:cubicBezTo>
                  <a:cubicBezTo>
                    <a:pt x="431784" y="202333"/>
                    <a:pt x="435546" y="219673"/>
                    <a:pt x="435299" y="237190"/>
                  </a:cubicBezTo>
                  <a:close/>
                </a:path>
              </a:pathLst>
            </a:custGeom>
            <a:grpFill/>
            <a:ln w="13721"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791A7402-05C7-1E46-9E17-3A9E07FAAA66}"/>
                </a:ext>
              </a:extLst>
            </p:cNvPr>
            <p:cNvSpPr/>
            <p:nvPr/>
          </p:nvSpPr>
          <p:spPr>
            <a:xfrm>
              <a:off x="10146470" y="3567205"/>
              <a:ext cx="671047" cy="779941"/>
            </a:xfrm>
            <a:custGeom>
              <a:avLst/>
              <a:gdLst>
                <a:gd name="connsiteX0" fmla="*/ 671047 w 671047"/>
                <a:gd name="connsiteY0" fmla="*/ 768956 h 779941"/>
                <a:gd name="connsiteX1" fmla="*/ 415672 w 671047"/>
                <a:gd name="connsiteY1" fmla="*/ 8224 h 779941"/>
                <a:gd name="connsiteX2" fmla="*/ 406061 w 671047"/>
                <a:gd name="connsiteY2" fmla="*/ 0 h 779941"/>
                <a:gd name="connsiteX3" fmla="*/ 270135 w 671047"/>
                <a:gd name="connsiteY3" fmla="*/ 0 h 779941"/>
                <a:gd name="connsiteX4" fmla="*/ 260524 w 671047"/>
                <a:gd name="connsiteY4" fmla="*/ 8224 h 779941"/>
                <a:gd name="connsiteX5" fmla="*/ 1030 w 671047"/>
                <a:gd name="connsiteY5" fmla="*/ 767585 h 779941"/>
                <a:gd name="connsiteX6" fmla="*/ 1030 w 671047"/>
                <a:gd name="connsiteY6" fmla="*/ 775809 h 779941"/>
                <a:gd name="connsiteX7" fmla="*/ 9268 w 671047"/>
                <a:gd name="connsiteY7" fmla="*/ 778551 h 779941"/>
                <a:gd name="connsiteX8" fmla="*/ 112242 w 671047"/>
                <a:gd name="connsiteY8" fmla="*/ 778551 h 779941"/>
                <a:gd name="connsiteX9" fmla="*/ 120480 w 671047"/>
                <a:gd name="connsiteY9" fmla="*/ 770327 h 779941"/>
                <a:gd name="connsiteX10" fmla="*/ 172653 w 671047"/>
                <a:gd name="connsiteY10" fmla="*/ 614068 h 779941"/>
                <a:gd name="connsiteX11" fmla="*/ 175399 w 671047"/>
                <a:gd name="connsiteY11" fmla="*/ 611327 h 779941"/>
                <a:gd name="connsiteX12" fmla="*/ 493932 w 671047"/>
                <a:gd name="connsiteY12" fmla="*/ 611327 h 779941"/>
                <a:gd name="connsiteX13" fmla="*/ 498051 w 671047"/>
                <a:gd name="connsiteY13" fmla="*/ 614068 h 779941"/>
                <a:gd name="connsiteX14" fmla="*/ 548851 w 671047"/>
                <a:gd name="connsiteY14" fmla="*/ 771697 h 779941"/>
                <a:gd name="connsiteX15" fmla="*/ 557089 w 671047"/>
                <a:gd name="connsiteY15" fmla="*/ 779921 h 779941"/>
                <a:gd name="connsiteX16" fmla="*/ 660063 w 671047"/>
                <a:gd name="connsiteY16" fmla="*/ 779921 h 779941"/>
                <a:gd name="connsiteX17" fmla="*/ 668301 w 671047"/>
                <a:gd name="connsiteY17" fmla="*/ 777180 h 779941"/>
                <a:gd name="connsiteX18" fmla="*/ 671047 w 671047"/>
                <a:gd name="connsiteY18" fmla="*/ 768956 h 779941"/>
                <a:gd name="connsiteX19" fmla="*/ 467845 w 671047"/>
                <a:gd name="connsiteY19" fmla="*/ 518120 h 779941"/>
                <a:gd name="connsiteX20" fmla="*/ 204232 w 671047"/>
                <a:gd name="connsiteY20" fmla="*/ 518120 h 779941"/>
                <a:gd name="connsiteX21" fmla="*/ 204232 w 671047"/>
                <a:gd name="connsiteY21" fmla="*/ 516749 h 779941"/>
                <a:gd name="connsiteX22" fmla="*/ 333293 w 671047"/>
                <a:gd name="connsiteY22" fmla="*/ 116508 h 779941"/>
                <a:gd name="connsiteX23" fmla="*/ 337412 w 671047"/>
                <a:gd name="connsiteY23" fmla="*/ 116508 h 779941"/>
                <a:gd name="connsiteX24" fmla="*/ 466472 w 671047"/>
                <a:gd name="connsiteY24" fmla="*/ 516749 h 779941"/>
                <a:gd name="connsiteX25" fmla="*/ 467845 w 671047"/>
                <a:gd name="connsiteY25" fmla="*/ 518120 h 77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71047" h="779941">
                  <a:moveTo>
                    <a:pt x="671047" y="768956"/>
                  </a:moveTo>
                  <a:lnTo>
                    <a:pt x="415672" y="8224"/>
                  </a:lnTo>
                  <a:cubicBezTo>
                    <a:pt x="412926" y="1371"/>
                    <a:pt x="408807" y="0"/>
                    <a:pt x="406061" y="0"/>
                  </a:cubicBezTo>
                  <a:lnTo>
                    <a:pt x="270135" y="0"/>
                  </a:lnTo>
                  <a:cubicBezTo>
                    <a:pt x="267389" y="0"/>
                    <a:pt x="263270" y="1371"/>
                    <a:pt x="260524" y="8224"/>
                  </a:cubicBezTo>
                  <a:lnTo>
                    <a:pt x="1030" y="767585"/>
                  </a:lnTo>
                  <a:cubicBezTo>
                    <a:pt x="-343" y="770162"/>
                    <a:pt x="-343" y="773232"/>
                    <a:pt x="1030" y="775809"/>
                  </a:cubicBezTo>
                  <a:cubicBezTo>
                    <a:pt x="2403" y="778551"/>
                    <a:pt x="5149" y="778551"/>
                    <a:pt x="9268" y="778551"/>
                  </a:cubicBezTo>
                  <a:lnTo>
                    <a:pt x="112242" y="778551"/>
                  </a:lnTo>
                  <a:cubicBezTo>
                    <a:pt x="116361" y="778551"/>
                    <a:pt x="119107" y="775809"/>
                    <a:pt x="120480" y="770327"/>
                  </a:cubicBezTo>
                  <a:lnTo>
                    <a:pt x="172653" y="614068"/>
                  </a:lnTo>
                  <a:cubicBezTo>
                    <a:pt x="174026" y="611327"/>
                    <a:pt x="175399" y="611327"/>
                    <a:pt x="175399" y="611327"/>
                  </a:cubicBezTo>
                  <a:lnTo>
                    <a:pt x="493932" y="611327"/>
                  </a:lnTo>
                  <a:cubicBezTo>
                    <a:pt x="498051" y="611327"/>
                    <a:pt x="498051" y="612698"/>
                    <a:pt x="498051" y="614068"/>
                  </a:cubicBezTo>
                  <a:lnTo>
                    <a:pt x="548851" y="771697"/>
                  </a:lnTo>
                  <a:cubicBezTo>
                    <a:pt x="551597" y="778551"/>
                    <a:pt x="554343" y="779921"/>
                    <a:pt x="557089" y="779921"/>
                  </a:cubicBezTo>
                  <a:lnTo>
                    <a:pt x="660063" y="779921"/>
                  </a:lnTo>
                  <a:cubicBezTo>
                    <a:pt x="663056" y="780100"/>
                    <a:pt x="666008" y="779113"/>
                    <a:pt x="668301" y="777180"/>
                  </a:cubicBezTo>
                  <a:cubicBezTo>
                    <a:pt x="671047" y="775809"/>
                    <a:pt x="671047" y="773068"/>
                    <a:pt x="671047" y="768956"/>
                  </a:cubicBezTo>
                  <a:close/>
                  <a:moveTo>
                    <a:pt x="467845" y="518120"/>
                  </a:moveTo>
                  <a:lnTo>
                    <a:pt x="204232" y="518120"/>
                  </a:lnTo>
                  <a:lnTo>
                    <a:pt x="204232" y="516749"/>
                  </a:lnTo>
                  <a:lnTo>
                    <a:pt x="333293" y="116508"/>
                  </a:lnTo>
                  <a:cubicBezTo>
                    <a:pt x="334665" y="112396"/>
                    <a:pt x="336038" y="112396"/>
                    <a:pt x="337412" y="116508"/>
                  </a:cubicBezTo>
                  <a:lnTo>
                    <a:pt x="466472" y="516749"/>
                  </a:lnTo>
                  <a:cubicBezTo>
                    <a:pt x="467227" y="516749"/>
                    <a:pt x="467845" y="517366"/>
                    <a:pt x="467845" y="518120"/>
                  </a:cubicBezTo>
                  <a:close/>
                </a:path>
              </a:pathLst>
            </a:custGeom>
            <a:grpFill/>
            <a:ln w="13721" cap="flat">
              <a:noFill/>
              <a:prstDash val="solid"/>
              <a:miter/>
            </a:ln>
          </p:spPr>
          <p:txBody>
            <a:bodyPr rtlCol="0" anchor="ctr"/>
            <a:lstStyle/>
            <a:p>
              <a:endParaRPr lang="en-US"/>
            </a:p>
          </p:txBody>
        </p:sp>
      </p:grpSp>
    </p:spTree>
    <p:extLst>
      <p:ext uri="{BB962C8B-B14F-4D97-AF65-F5344CB8AC3E}">
        <p14:creationId xmlns:p14="http://schemas.microsoft.com/office/powerpoint/2010/main" val="24144106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3D79AEC-6FE8-4D41-A8F1-7FA09A2A7E72}"/>
              </a:ext>
            </a:extLst>
          </p:cNvPr>
          <p:cNvGraphicFramePr>
            <a:graphicFrameLocks noChangeAspect="1"/>
          </p:cNvGraphicFramePr>
          <p:nvPr userDrawn="1">
            <p:custDataLst>
              <p:tags r:id="rId1"/>
            </p:custDataLst>
            <p:extLst>
              <p:ext uri="{D42A27DB-BD31-4B8C-83A1-F6EECF244321}">
                <p14:modId xmlns:p14="http://schemas.microsoft.com/office/powerpoint/2010/main" val="5073510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3D79AEC-6FE8-4D41-A8F1-7FA09A2A7E7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8B8251-3B53-CA4C-B4C6-3BF954411FA4}"/>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A0AA95C2-2A27-9E45-BF16-7D67B506DA43}"/>
              </a:ext>
            </a:extLst>
          </p:cNvPr>
          <p:cNvSpPr>
            <a:spLocks noGrp="1"/>
          </p:cNvSpPr>
          <p:nvPr>
            <p:ph sz="half" idx="1"/>
          </p:nvPr>
        </p:nvSpPr>
        <p:spPr>
          <a:xfrm>
            <a:off x="479425" y="1449388"/>
            <a:ext cx="5540375" cy="4679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E69A1D03-2F6B-F94A-A7A2-B5A04BAACF46}"/>
              </a:ext>
            </a:extLst>
          </p:cNvPr>
          <p:cNvSpPr>
            <a:spLocks noGrp="1"/>
          </p:cNvSpPr>
          <p:nvPr>
            <p:ph sz="half" idx="2"/>
          </p:nvPr>
        </p:nvSpPr>
        <p:spPr>
          <a:xfrm>
            <a:off x="6172199" y="1449388"/>
            <a:ext cx="5503863" cy="4679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149C493C-25F1-714F-B7BA-DE84C8599C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882EB4-58A6-2441-957F-D6E4987A6C95}"/>
              </a:ext>
            </a:extLst>
          </p:cNvPr>
          <p:cNvSpPr>
            <a:spLocks noGrp="1"/>
          </p:cNvSpPr>
          <p:nvPr>
            <p:ph type="sldNum" sz="quarter" idx="12"/>
          </p:nvPr>
        </p:nvSpPr>
        <p:spPr/>
        <p:txBody>
          <a:bodyPr/>
          <a:lstStyle/>
          <a:p>
            <a:fld id="{5961ED0D-4218-2246-873D-34365221D361}" type="slidenum">
              <a:rPr lang="en-US" smtClean="0"/>
              <a:t>‹#›</a:t>
            </a:fld>
            <a:endParaRPr lang="en-US"/>
          </a:p>
        </p:txBody>
      </p:sp>
    </p:spTree>
    <p:extLst>
      <p:ext uri="{BB962C8B-B14F-4D97-AF65-F5344CB8AC3E}">
        <p14:creationId xmlns:p14="http://schemas.microsoft.com/office/powerpoint/2010/main" val="2607532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9916109-EAB8-6C43-8A82-E407754FC8EE}"/>
              </a:ext>
            </a:extLst>
          </p:cNvPr>
          <p:cNvGraphicFramePr>
            <a:graphicFrameLocks noChangeAspect="1"/>
          </p:cNvGraphicFramePr>
          <p:nvPr userDrawn="1">
            <p:custDataLst>
              <p:tags r:id="rId1"/>
            </p:custDataLst>
            <p:extLst>
              <p:ext uri="{D42A27DB-BD31-4B8C-83A1-F6EECF244321}">
                <p14:modId xmlns:p14="http://schemas.microsoft.com/office/powerpoint/2010/main" val="31553393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D9916109-EAB8-6C43-8A82-E407754FC8E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F57FE4-B208-5347-8216-7BBE806A49A0}"/>
              </a:ext>
            </a:extLst>
          </p:cNvPr>
          <p:cNvSpPr>
            <a:spLocks noGrp="1"/>
          </p:cNvSpPr>
          <p:nvPr>
            <p:ph type="title"/>
          </p:nvPr>
        </p:nvSpPr>
        <p:spPr/>
        <p:txBody>
          <a:bodyPr vert="horz"/>
          <a:lstStyle/>
          <a:p>
            <a:r>
              <a:rPr lang="en-US"/>
              <a:t>Click to edit Master title style</a:t>
            </a:r>
          </a:p>
        </p:txBody>
      </p:sp>
      <p:sp>
        <p:nvSpPr>
          <p:cNvPr id="4" name="Footer Placeholder 3">
            <a:extLst>
              <a:ext uri="{FF2B5EF4-FFF2-40B4-BE49-F238E27FC236}">
                <a16:creationId xmlns:a16="http://schemas.microsoft.com/office/drawing/2014/main" id="{C40A500F-8D40-7A4F-9760-D92979981B0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4F7FB3-0D20-424D-8C63-56E1FEA01E9E}"/>
              </a:ext>
            </a:extLst>
          </p:cNvPr>
          <p:cNvSpPr>
            <a:spLocks noGrp="1"/>
          </p:cNvSpPr>
          <p:nvPr>
            <p:ph type="sldNum" sz="quarter" idx="12"/>
          </p:nvPr>
        </p:nvSpPr>
        <p:spPr/>
        <p:txBody>
          <a:bodyPr/>
          <a:lstStyle/>
          <a:p>
            <a:fld id="{5961ED0D-4218-2246-873D-34365221D361}" type="slidenum">
              <a:rPr lang="en-US" smtClean="0"/>
              <a:t>‹#›</a:t>
            </a:fld>
            <a:endParaRPr lang="en-US"/>
          </a:p>
        </p:txBody>
      </p:sp>
    </p:spTree>
    <p:extLst>
      <p:ext uri="{BB962C8B-B14F-4D97-AF65-F5344CB8AC3E}">
        <p14:creationId xmlns:p14="http://schemas.microsoft.com/office/powerpoint/2010/main" val="677462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A2774FA-99EC-874F-B7B8-13A36313EC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EC85DD-030C-CD4F-9380-2C2644ECCD00}"/>
              </a:ext>
            </a:extLst>
          </p:cNvPr>
          <p:cNvSpPr>
            <a:spLocks noGrp="1"/>
          </p:cNvSpPr>
          <p:nvPr>
            <p:ph type="sldNum" sz="quarter" idx="12"/>
          </p:nvPr>
        </p:nvSpPr>
        <p:spPr/>
        <p:txBody>
          <a:bodyPr/>
          <a:lstStyle/>
          <a:p>
            <a:fld id="{5961ED0D-4218-2246-873D-34365221D361}" type="slidenum">
              <a:rPr lang="en-US" smtClean="0"/>
              <a:t>‹#›</a:t>
            </a:fld>
            <a:endParaRPr lang="en-US"/>
          </a:p>
        </p:txBody>
      </p:sp>
    </p:spTree>
    <p:extLst>
      <p:ext uri="{BB962C8B-B14F-4D97-AF65-F5344CB8AC3E}">
        <p14:creationId xmlns:p14="http://schemas.microsoft.com/office/powerpoint/2010/main" val="11812454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6B5E877-0D03-A342-8D80-F2BBD1112CF1}"/>
              </a:ext>
            </a:extLst>
          </p:cNvPr>
          <p:cNvGraphicFramePr>
            <a:graphicFrameLocks noChangeAspect="1"/>
          </p:cNvGraphicFramePr>
          <p:nvPr userDrawn="1">
            <p:custDataLst>
              <p:tags r:id="rId1"/>
            </p:custDataLst>
            <p:extLst>
              <p:ext uri="{D42A27DB-BD31-4B8C-83A1-F6EECF244321}">
                <p14:modId xmlns:p14="http://schemas.microsoft.com/office/powerpoint/2010/main" val="30476634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06B5E877-0D03-A342-8D80-F2BBD1112CF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3F4AFF-5626-C74E-BFC0-F48C43D656C1}"/>
              </a:ext>
            </a:extLst>
          </p:cNvPr>
          <p:cNvSpPr>
            <a:spLocks noGrp="1"/>
          </p:cNvSpPr>
          <p:nvPr>
            <p:ph type="title" hasCustomPrompt="1"/>
          </p:nvPr>
        </p:nvSpPr>
        <p:spPr>
          <a:xfrm>
            <a:off x="479425" y="549275"/>
            <a:ext cx="3932237" cy="1430250"/>
          </a:xfrm>
        </p:spPr>
        <p:txBody>
          <a:bodyPr vert="horz" anchor="b"/>
          <a:lstStyle>
            <a:lvl1pPr>
              <a:defRPr sz="3200"/>
            </a:lvl1pPr>
          </a:lstStyle>
          <a:p>
            <a:r>
              <a:rPr lang="en-US" dirty="0"/>
              <a:t>Slide title</a:t>
            </a:r>
          </a:p>
        </p:txBody>
      </p:sp>
      <p:sp>
        <p:nvSpPr>
          <p:cNvPr id="3" name="Content Placeholder 2">
            <a:extLst>
              <a:ext uri="{FF2B5EF4-FFF2-40B4-BE49-F238E27FC236}">
                <a16:creationId xmlns:a16="http://schemas.microsoft.com/office/drawing/2014/main" id="{1C61C07A-300D-2B4F-800B-F58DE48D84CF}"/>
              </a:ext>
            </a:extLst>
          </p:cNvPr>
          <p:cNvSpPr>
            <a:spLocks noGrp="1"/>
          </p:cNvSpPr>
          <p:nvPr>
            <p:ph idx="1"/>
          </p:nvPr>
        </p:nvSpPr>
        <p:spPr>
          <a:xfrm>
            <a:off x="4662435" y="549275"/>
            <a:ext cx="7013628" cy="5580061"/>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97FF152A-05F3-B446-AEA2-64E0B369D23E}"/>
              </a:ext>
            </a:extLst>
          </p:cNvPr>
          <p:cNvSpPr>
            <a:spLocks noGrp="1"/>
          </p:cNvSpPr>
          <p:nvPr>
            <p:ph type="body" sz="half" idx="2"/>
          </p:nvPr>
        </p:nvSpPr>
        <p:spPr>
          <a:xfrm>
            <a:off x="479425" y="2149474"/>
            <a:ext cx="3932237" cy="397986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9CF93F41-BF0A-304D-BEDF-78AFBC0EB4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992583-B35C-DC4A-8381-1CDA27E4E367}"/>
              </a:ext>
            </a:extLst>
          </p:cNvPr>
          <p:cNvSpPr>
            <a:spLocks noGrp="1"/>
          </p:cNvSpPr>
          <p:nvPr>
            <p:ph type="sldNum" sz="quarter" idx="12"/>
          </p:nvPr>
        </p:nvSpPr>
        <p:spPr/>
        <p:txBody>
          <a:bodyPr/>
          <a:lstStyle/>
          <a:p>
            <a:fld id="{5961ED0D-4218-2246-873D-34365221D361}" type="slidenum">
              <a:rPr lang="en-US" smtClean="0"/>
              <a:t>‹#›</a:t>
            </a:fld>
            <a:endParaRPr lang="en-US"/>
          </a:p>
        </p:txBody>
      </p:sp>
    </p:spTree>
    <p:extLst>
      <p:ext uri="{BB962C8B-B14F-4D97-AF65-F5344CB8AC3E}">
        <p14:creationId xmlns:p14="http://schemas.microsoft.com/office/powerpoint/2010/main" val="20475213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F0D70D-380E-594C-A0F5-3EB163F3CCBC}"/>
              </a:ext>
            </a:extLst>
          </p:cNvPr>
          <p:cNvGraphicFramePr>
            <a:graphicFrameLocks noChangeAspect="1"/>
          </p:cNvGraphicFramePr>
          <p:nvPr userDrawn="1">
            <p:custDataLst>
              <p:tags r:id="rId1"/>
            </p:custDataLst>
            <p:extLst>
              <p:ext uri="{D42A27DB-BD31-4B8C-83A1-F6EECF244321}">
                <p14:modId xmlns:p14="http://schemas.microsoft.com/office/powerpoint/2010/main" val="27636913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85F0D70D-380E-594C-A0F5-3EB163F3CC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40B63877-2D1C-9F40-B773-0355090B9575}"/>
              </a:ext>
            </a:extLst>
          </p:cNvPr>
          <p:cNvSpPr>
            <a:spLocks noGrp="1"/>
          </p:cNvSpPr>
          <p:nvPr>
            <p:ph type="pic" idx="1" hasCustomPrompt="1"/>
          </p:nvPr>
        </p:nvSpPr>
        <p:spPr>
          <a:xfrm>
            <a:off x="6096000" y="549275"/>
            <a:ext cx="5580062" cy="5580062"/>
          </a:xfrm>
        </p:spPr>
        <p:txBody>
          <a:bodyPr anchor="ctr">
            <a:normAutofit/>
          </a:bodyPr>
          <a:lstStyle>
            <a:lvl1pPr marL="0" indent="0" algn="ctr">
              <a:buNone/>
              <a:defRPr sz="24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image here</a:t>
            </a:r>
          </a:p>
          <a:p>
            <a:endParaRPr lang="en-US" dirty="0"/>
          </a:p>
        </p:txBody>
      </p:sp>
      <p:sp>
        <p:nvSpPr>
          <p:cNvPr id="6" name="Footer Placeholder 5">
            <a:extLst>
              <a:ext uri="{FF2B5EF4-FFF2-40B4-BE49-F238E27FC236}">
                <a16:creationId xmlns:a16="http://schemas.microsoft.com/office/drawing/2014/main" id="{F5F2041F-E09E-9D43-88D5-E0A388316F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328E51-8E2D-B649-810A-738A52E507BE}"/>
              </a:ext>
            </a:extLst>
          </p:cNvPr>
          <p:cNvSpPr>
            <a:spLocks noGrp="1"/>
          </p:cNvSpPr>
          <p:nvPr>
            <p:ph type="sldNum" sz="quarter" idx="12"/>
          </p:nvPr>
        </p:nvSpPr>
        <p:spPr/>
        <p:txBody>
          <a:bodyPr/>
          <a:lstStyle/>
          <a:p>
            <a:fld id="{5961ED0D-4218-2246-873D-34365221D361}" type="slidenum">
              <a:rPr lang="en-US" smtClean="0"/>
              <a:t>‹#›</a:t>
            </a:fld>
            <a:endParaRPr lang="en-US"/>
          </a:p>
        </p:txBody>
      </p:sp>
      <p:sp>
        <p:nvSpPr>
          <p:cNvPr id="10" name="Title 1">
            <a:extLst>
              <a:ext uri="{FF2B5EF4-FFF2-40B4-BE49-F238E27FC236}">
                <a16:creationId xmlns:a16="http://schemas.microsoft.com/office/drawing/2014/main" id="{2FE1BCE0-F2ED-7540-9E5F-0EFD1336FCBC}"/>
              </a:ext>
            </a:extLst>
          </p:cNvPr>
          <p:cNvSpPr>
            <a:spLocks noGrp="1"/>
          </p:cNvSpPr>
          <p:nvPr>
            <p:ph type="title" hasCustomPrompt="1"/>
          </p:nvPr>
        </p:nvSpPr>
        <p:spPr>
          <a:xfrm>
            <a:off x="479425" y="549275"/>
            <a:ext cx="5338571" cy="1430250"/>
          </a:xfrm>
        </p:spPr>
        <p:txBody>
          <a:bodyPr vert="horz" anchor="b"/>
          <a:lstStyle>
            <a:lvl1pPr>
              <a:defRPr sz="3200"/>
            </a:lvl1pPr>
          </a:lstStyle>
          <a:p>
            <a:r>
              <a:rPr lang="en-US" dirty="0"/>
              <a:t>Slide title</a:t>
            </a:r>
          </a:p>
        </p:txBody>
      </p:sp>
      <p:sp>
        <p:nvSpPr>
          <p:cNvPr id="11" name="Text Placeholder 3">
            <a:extLst>
              <a:ext uri="{FF2B5EF4-FFF2-40B4-BE49-F238E27FC236}">
                <a16:creationId xmlns:a16="http://schemas.microsoft.com/office/drawing/2014/main" id="{737379F1-AF17-7346-A32F-E4C67F32EF02}"/>
              </a:ext>
            </a:extLst>
          </p:cNvPr>
          <p:cNvSpPr>
            <a:spLocks noGrp="1"/>
          </p:cNvSpPr>
          <p:nvPr>
            <p:ph type="body" sz="half" idx="2"/>
          </p:nvPr>
        </p:nvSpPr>
        <p:spPr>
          <a:xfrm>
            <a:off x="479425" y="2149474"/>
            <a:ext cx="5338571" cy="3979863"/>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281521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56294F-5E67-D648-BEFF-6FCBE98CE0BE}"/>
              </a:ext>
            </a:extLst>
          </p:cNvPr>
          <p:cNvGraphicFramePr>
            <a:graphicFrameLocks noChangeAspect="1"/>
          </p:cNvGraphicFramePr>
          <p:nvPr userDrawn="1">
            <p:custDataLst>
              <p:tags r:id="rId10"/>
            </p:custDataLst>
            <p:extLst>
              <p:ext uri="{D42A27DB-BD31-4B8C-83A1-F6EECF244321}">
                <p14:modId xmlns:p14="http://schemas.microsoft.com/office/powerpoint/2010/main" val="1070072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Object 7" hidden="1">
                        <a:extLst>
                          <a:ext uri="{FF2B5EF4-FFF2-40B4-BE49-F238E27FC236}">
                            <a16:creationId xmlns:a16="http://schemas.microsoft.com/office/drawing/2014/main" id="{4556294F-5E67-D648-BEFF-6FCBE98CE0BE}"/>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B4C4A69-6BB0-EB4F-9F1D-0E35D75138C5}"/>
              </a:ext>
            </a:extLst>
          </p:cNvPr>
          <p:cNvSpPr>
            <a:spLocks noGrp="1"/>
          </p:cNvSpPr>
          <p:nvPr>
            <p:ph type="title"/>
          </p:nvPr>
        </p:nvSpPr>
        <p:spPr>
          <a:xfrm>
            <a:off x="479425" y="549275"/>
            <a:ext cx="11206808" cy="525463"/>
          </a:xfrm>
          <a:prstGeom prst="rect">
            <a:avLst/>
          </a:prstGeom>
        </p:spPr>
        <p:txBody>
          <a:bodyPr vert="horz" lIns="0" tIns="0" rIns="91440" bIns="4572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EBAB71C-7AEF-EE43-8B56-96462AA31711}"/>
              </a:ext>
            </a:extLst>
          </p:cNvPr>
          <p:cNvSpPr>
            <a:spLocks noGrp="1"/>
          </p:cNvSpPr>
          <p:nvPr>
            <p:ph type="body" idx="1"/>
          </p:nvPr>
        </p:nvSpPr>
        <p:spPr>
          <a:xfrm>
            <a:off x="479425" y="1449389"/>
            <a:ext cx="11206808" cy="4679950"/>
          </a:xfrm>
          <a:prstGeom prst="rect">
            <a:avLst/>
          </a:prstGeom>
        </p:spPr>
        <p:txBody>
          <a:bodyPr vert="horz" lIns="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813CBEF6-D6F4-8842-8EC1-83FF7190C13C}"/>
              </a:ext>
            </a:extLst>
          </p:cNvPr>
          <p:cNvSpPr>
            <a:spLocks noGrp="1"/>
          </p:cNvSpPr>
          <p:nvPr>
            <p:ph type="ftr" sz="quarter" idx="3"/>
          </p:nvPr>
        </p:nvSpPr>
        <p:spPr>
          <a:xfrm>
            <a:off x="1155981" y="6316159"/>
            <a:ext cx="9920619" cy="285610"/>
          </a:xfrm>
          <a:prstGeom prst="rect">
            <a:avLst/>
          </a:prstGeom>
        </p:spPr>
        <p:txBody>
          <a:bodyPr vert="horz" lIns="91440" tIns="45720" rIns="91440" bIns="45720" rtlCol="0" anchor="ctr"/>
          <a:lstStyle>
            <a:lvl1pPr algn="l">
              <a:defRPr sz="12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11AC9929-9D62-F844-B0A9-BCEF5E483FD0}"/>
              </a:ext>
            </a:extLst>
          </p:cNvPr>
          <p:cNvSpPr>
            <a:spLocks noGrp="1"/>
          </p:cNvSpPr>
          <p:nvPr>
            <p:ph type="sldNum" sz="quarter" idx="4"/>
          </p:nvPr>
        </p:nvSpPr>
        <p:spPr>
          <a:xfrm>
            <a:off x="479425" y="6316159"/>
            <a:ext cx="532440" cy="285610"/>
          </a:xfrm>
          <a:prstGeom prst="rect">
            <a:avLst/>
          </a:prstGeom>
        </p:spPr>
        <p:txBody>
          <a:bodyPr vert="horz" lIns="0" tIns="45720" rIns="91440" bIns="45720" rtlCol="0" anchor="ctr"/>
          <a:lstStyle>
            <a:lvl1pPr algn="l">
              <a:defRPr sz="1200">
                <a:solidFill>
                  <a:schemeClr val="tx1"/>
                </a:solidFill>
              </a:defRPr>
            </a:lvl1pPr>
          </a:lstStyle>
          <a:p>
            <a:fld id="{5961ED0D-4218-2246-873D-34365221D361}" type="slidenum">
              <a:rPr lang="en-US" smtClean="0"/>
              <a:pPr/>
              <a:t>‹#›</a:t>
            </a:fld>
            <a:endParaRPr lang="en-US" dirty="0"/>
          </a:p>
        </p:txBody>
      </p:sp>
      <p:pic>
        <p:nvPicPr>
          <p:cNvPr id="32" name="Graphic 31">
            <a:extLst>
              <a:ext uri="{FF2B5EF4-FFF2-40B4-BE49-F238E27FC236}">
                <a16:creationId xmlns:a16="http://schemas.microsoft.com/office/drawing/2014/main" id="{543626F9-075C-2542-9C4C-46D805ED5EEC}"/>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220716" y="6296531"/>
            <a:ext cx="412078" cy="324866"/>
          </a:xfrm>
          <a:prstGeom prst="rect">
            <a:avLst/>
          </a:prstGeom>
        </p:spPr>
      </p:pic>
    </p:spTree>
    <p:extLst>
      <p:ext uri="{BB962C8B-B14F-4D97-AF65-F5344CB8AC3E}">
        <p14:creationId xmlns:p14="http://schemas.microsoft.com/office/powerpoint/2010/main" val="28540104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6" r:id="rId7"/>
    <p:sldLayoutId id="2147483657" r:id="rId8"/>
  </p:sldLayoutIdLs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02" userDrawn="1">
          <p15:clr>
            <a:srgbClr val="F26B43"/>
          </p15:clr>
        </p15:guide>
        <p15:guide id="4" pos="7355" userDrawn="1">
          <p15:clr>
            <a:srgbClr val="F26B43"/>
          </p15:clr>
        </p15:guide>
        <p15:guide id="5" orient="horz" pos="677" userDrawn="1">
          <p15:clr>
            <a:srgbClr val="F26B43"/>
          </p15:clr>
        </p15:guide>
        <p15:guide id="6" orient="horz" pos="346" userDrawn="1">
          <p15:clr>
            <a:srgbClr val="F26B43"/>
          </p15:clr>
        </p15:guide>
        <p15:guide id="7" orient="horz" pos="913" userDrawn="1">
          <p15:clr>
            <a:srgbClr val="F26B43"/>
          </p15:clr>
        </p15:guide>
        <p15:guide id="8" orient="horz" pos="3861" userDrawn="1">
          <p15:clr>
            <a:srgbClr val="F26B43"/>
          </p15:clr>
        </p15:guide>
        <p15:guide id="9" orient="horz" pos="3974" userDrawn="1">
          <p15:clr>
            <a:srgbClr val="F26B43"/>
          </p15:clr>
        </p15:guide>
        <p15:guide id="10"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hyperlink" Target="mailto:membership@c2pa.org" TargetMode="External"/><Relationship Id="rId5" Type="http://schemas.openxmlformats.org/officeDocument/2006/relationships/image" Target="../media/image12.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3.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hyperlink" Target="http://www.c2pa.org" TargetMode="External"/><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hyperlink" Target="http://www.c2pa.org/" TargetMode="Externa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hyperlink" Target="https://c2pa.org/about/charter/" TargetMode="External"/><Relationship Id="rId5" Type="http://schemas.openxmlformats.org/officeDocument/2006/relationships/hyperlink" Target="https://www.jointdevelopment.org/" TargetMode="Externa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8.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3D8D76-CEB9-0C46-9C03-ECEF2B27EC55}"/>
              </a:ext>
            </a:extLst>
          </p:cNvPr>
          <p:cNvGraphicFramePr>
            <a:graphicFrameLocks noChangeAspect="1"/>
          </p:cNvGraphicFramePr>
          <p:nvPr>
            <p:custDataLst>
              <p:tags r:id="rId1"/>
            </p:custDataLst>
            <p:extLst>
              <p:ext uri="{D42A27DB-BD31-4B8C-83A1-F6EECF244321}">
                <p14:modId xmlns:p14="http://schemas.microsoft.com/office/powerpoint/2010/main" val="667066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8A3D8D76-CEB9-0C46-9C03-ECEF2B27EC5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829B63-94F8-8F4D-A30D-5E6AE468DC2D}"/>
              </a:ext>
            </a:extLst>
          </p:cNvPr>
          <p:cNvSpPr>
            <a:spLocks noGrp="1"/>
          </p:cNvSpPr>
          <p:nvPr>
            <p:ph type="ctrTitle"/>
          </p:nvPr>
        </p:nvSpPr>
        <p:spPr/>
        <p:txBody>
          <a:bodyPr vert="horz"/>
          <a:lstStyle/>
          <a:p>
            <a:r>
              <a:rPr lang="en-US" dirty="0"/>
              <a:t>Coalition for Content Provenance and Authenticity (C2PA)</a:t>
            </a:r>
          </a:p>
        </p:txBody>
      </p:sp>
      <p:sp>
        <p:nvSpPr>
          <p:cNvPr id="3" name="Subtitle 2">
            <a:extLst>
              <a:ext uri="{FF2B5EF4-FFF2-40B4-BE49-F238E27FC236}">
                <a16:creationId xmlns:a16="http://schemas.microsoft.com/office/drawing/2014/main" id="{7F1B8AA9-DDE5-6742-BB7C-5180B15422C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719412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59AE8-42F7-45DC-88DF-75C21E0FF8E3}"/>
              </a:ext>
            </a:extLst>
          </p:cNvPr>
          <p:cNvSpPr>
            <a:spLocks noGrp="1"/>
          </p:cNvSpPr>
          <p:nvPr>
            <p:ph type="title"/>
          </p:nvPr>
        </p:nvSpPr>
        <p:spPr/>
        <p:txBody>
          <a:bodyPr/>
          <a:lstStyle/>
          <a:p>
            <a:r>
              <a:rPr lang="en-US" dirty="0"/>
              <a:t>Working Together</a:t>
            </a:r>
          </a:p>
        </p:txBody>
      </p:sp>
      <p:grpSp>
        <p:nvGrpSpPr>
          <p:cNvPr id="31" name="Group 30">
            <a:extLst>
              <a:ext uri="{FF2B5EF4-FFF2-40B4-BE49-F238E27FC236}">
                <a16:creationId xmlns:a16="http://schemas.microsoft.com/office/drawing/2014/main" id="{8B3B22CD-A241-4CF5-A0AE-E902D6747414}"/>
              </a:ext>
            </a:extLst>
          </p:cNvPr>
          <p:cNvGrpSpPr/>
          <p:nvPr/>
        </p:nvGrpSpPr>
        <p:grpSpPr>
          <a:xfrm>
            <a:off x="4134349" y="1571552"/>
            <a:ext cx="3609616" cy="3753556"/>
            <a:chOff x="4244622" y="1653822"/>
            <a:chExt cx="4108991" cy="4272845"/>
          </a:xfrm>
        </p:grpSpPr>
        <p:sp>
          <p:nvSpPr>
            <p:cNvPr id="26" name="Rectangle 25">
              <a:extLst>
                <a:ext uri="{FF2B5EF4-FFF2-40B4-BE49-F238E27FC236}">
                  <a16:creationId xmlns:a16="http://schemas.microsoft.com/office/drawing/2014/main" id="{CA49A94E-0C24-4DFB-811E-F72355B9BD9E}"/>
                </a:ext>
              </a:extLst>
            </p:cNvPr>
            <p:cNvSpPr/>
            <p:nvPr/>
          </p:nvSpPr>
          <p:spPr>
            <a:xfrm>
              <a:off x="4244622" y="1653822"/>
              <a:ext cx="4108991" cy="427284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5" name="Picture 2">
              <a:extLst>
                <a:ext uri="{FF2B5EF4-FFF2-40B4-BE49-F238E27FC236}">
                  <a16:creationId xmlns:a16="http://schemas.microsoft.com/office/drawing/2014/main" id="{D24BD061-BC6D-4273-A36B-7C217A49E1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3929" y="1929419"/>
              <a:ext cx="3276146" cy="100440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09A5EAC-C2D4-41EE-B39B-6176345A3AC6}"/>
                </a:ext>
              </a:extLst>
            </p:cNvPr>
            <p:cNvPicPr/>
            <p:nvPr/>
          </p:nvPicPr>
          <p:blipFill>
            <a:blip r:embed="rId3"/>
            <a:stretch>
              <a:fillRect/>
            </a:stretch>
          </p:blipFill>
          <p:spPr>
            <a:xfrm>
              <a:off x="4489885" y="3329242"/>
              <a:ext cx="3644235" cy="949095"/>
            </a:xfrm>
            <a:prstGeom prst="rect">
              <a:avLst/>
            </a:prstGeom>
          </p:spPr>
        </p:pic>
        <p:sp>
          <p:nvSpPr>
            <p:cNvPr id="11" name="Rectangle 10">
              <a:extLst>
                <a:ext uri="{FF2B5EF4-FFF2-40B4-BE49-F238E27FC236}">
                  <a16:creationId xmlns:a16="http://schemas.microsoft.com/office/drawing/2014/main" id="{7E084EF9-71D5-496E-96A3-D9D9DB747571}"/>
                </a:ext>
              </a:extLst>
            </p:cNvPr>
            <p:cNvSpPr/>
            <p:nvPr/>
          </p:nvSpPr>
          <p:spPr>
            <a:xfrm>
              <a:off x="4673929" y="4673751"/>
              <a:ext cx="3276146" cy="100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Other Industry Initiatives</a:t>
              </a:r>
            </a:p>
          </p:txBody>
        </p:sp>
      </p:grpSp>
      <p:sp>
        <p:nvSpPr>
          <p:cNvPr id="30" name="Rectangle 29">
            <a:extLst>
              <a:ext uri="{FF2B5EF4-FFF2-40B4-BE49-F238E27FC236}">
                <a16:creationId xmlns:a16="http://schemas.microsoft.com/office/drawing/2014/main" id="{40ECBED7-4D66-49F6-BF3E-C5648F72A81F}"/>
              </a:ext>
            </a:extLst>
          </p:cNvPr>
          <p:cNvSpPr/>
          <p:nvPr/>
        </p:nvSpPr>
        <p:spPr>
          <a:xfrm>
            <a:off x="149450" y="1571552"/>
            <a:ext cx="1975885" cy="377036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id="{B42B8A2F-0A7B-4DCE-AAD4-48B505AC5505}"/>
              </a:ext>
            </a:extLst>
          </p:cNvPr>
          <p:cNvGrpSpPr/>
          <p:nvPr/>
        </p:nvGrpSpPr>
        <p:grpSpPr>
          <a:xfrm>
            <a:off x="9752979" y="1571553"/>
            <a:ext cx="2289571" cy="3753555"/>
            <a:chOff x="9902430" y="1571553"/>
            <a:chExt cx="2289571" cy="3753555"/>
          </a:xfrm>
        </p:grpSpPr>
        <p:sp>
          <p:nvSpPr>
            <p:cNvPr id="28" name="Rectangle 27">
              <a:extLst>
                <a:ext uri="{FF2B5EF4-FFF2-40B4-BE49-F238E27FC236}">
                  <a16:creationId xmlns:a16="http://schemas.microsoft.com/office/drawing/2014/main" id="{01F7447A-6385-4D65-80C7-584942E7C4ED}"/>
                </a:ext>
              </a:extLst>
            </p:cNvPr>
            <p:cNvSpPr/>
            <p:nvPr/>
          </p:nvSpPr>
          <p:spPr>
            <a:xfrm>
              <a:off x="9902430" y="1571553"/>
              <a:ext cx="2289571" cy="375355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854D665-9C52-4227-98DB-7A48B49E2D0A}"/>
                </a:ext>
              </a:extLst>
            </p:cNvPr>
            <p:cNvSpPr/>
            <p:nvPr/>
          </p:nvSpPr>
          <p:spPr>
            <a:xfrm>
              <a:off x="9998695" y="2969128"/>
              <a:ext cx="2097039" cy="1004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Consuming Organizations</a:t>
              </a:r>
            </a:p>
          </p:txBody>
        </p:sp>
      </p:grpSp>
      <p:sp>
        <p:nvSpPr>
          <p:cNvPr id="20" name="Arrow: Left 19">
            <a:extLst>
              <a:ext uri="{FF2B5EF4-FFF2-40B4-BE49-F238E27FC236}">
                <a16:creationId xmlns:a16="http://schemas.microsoft.com/office/drawing/2014/main" id="{3478A587-9266-4387-9F9B-771E8C49C2B1}"/>
              </a:ext>
            </a:extLst>
          </p:cNvPr>
          <p:cNvSpPr/>
          <p:nvPr/>
        </p:nvSpPr>
        <p:spPr>
          <a:xfrm>
            <a:off x="2125335" y="1571552"/>
            <a:ext cx="1975885" cy="1123245"/>
          </a:xfrm>
          <a:prstGeom prst="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Workflows and Requirements</a:t>
            </a:r>
          </a:p>
        </p:txBody>
      </p:sp>
      <p:sp>
        <p:nvSpPr>
          <p:cNvPr id="21" name="Arrow: Right 20">
            <a:extLst>
              <a:ext uri="{FF2B5EF4-FFF2-40B4-BE49-F238E27FC236}">
                <a16:creationId xmlns:a16="http://schemas.microsoft.com/office/drawing/2014/main" id="{303808DB-593B-4B1D-A466-A0218C98EB63}"/>
              </a:ext>
            </a:extLst>
          </p:cNvPr>
          <p:cNvSpPr/>
          <p:nvPr/>
        </p:nvSpPr>
        <p:spPr>
          <a:xfrm>
            <a:off x="2181102" y="4235602"/>
            <a:ext cx="1953248" cy="1106311"/>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Specifications and Standards</a:t>
            </a:r>
          </a:p>
        </p:txBody>
      </p:sp>
      <p:sp>
        <p:nvSpPr>
          <p:cNvPr id="37" name="Arrow: Right 36">
            <a:extLst>
              <a:ext uri="{FF2B5EF4-FFF2-40B4-BE49-F238E27FC236}">
                <a16:creationId xmlns:a16="http://schemas.microsoft.com/office/drawing/2014/main" id="{9335A3DB-C7A7-4B9B-B2F9-11E56502F047}"/>
              </a:ext>
            </a:extLst>
          </p:cNvPr>
          <p:cNvSpPr/>
          <p:nvPr/>
        </p:nvSpPr>
        <p:spPr>
          <a:xfrm>
            <a:off x="7797920" y="1589685"/>
            <a:ext cx="1975885" cy="1106311"/>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Best Practices</a:t>
            </a:r>
          </a:p>
        </p:txBody>
      </p:sp>
      <p:sp>
        <p:nvSpPr>
          <p:cNvPr id="39" name="Arrow: Right 38">
            <a:extLst>
              <a:ext uri="{FF2B5EF4-FFF2-40B4-BE49-F238E27FC236}">
                <a16:creationId xmlns:a16="http://schemas.microsoft.com/office/drawing/2014/main" id="{33B401BA-C571-433E-92A2-41A61015E552}"/>
              </a:ext>
            </a:extLst>
          </p:cNvPr>
          <p:cNvSpPr/>
          <p:nvPr/>
        </p:nvSpPr>
        <p:spPr>
          <a:xfrm>
            <a:off x="7777094" y="4235602"/>
            <a:ext cx="1975885" cy="1106311"/>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a:t>Reference Implementations</a:t>
            </a:r>
          </a:p>
        </p:txBody>
      </p:sp>
      <p:pic>
        <p:nvPicPr>
          <p:cNvPr id="41" name="Picture 40">
            <a:extLst>
              <a:ext uri="{FF2B5EF4-FFF2-40B4-BE49-F238E27FC236}">
                <a16:creationId xmlns:a16="http://schemas.microsoft.com/office/drawing/2014/main" id="{55F2DDDA-282A-4132-9036-EBE5647F5392}"/>
              </a:ext>
            </a:extLst>
          </p:cNvPr>
          <p:cNvPicPr>
            <a:picLocks noChangeAspect="1"/>
          </p:cNvPicPr>
          <p:nvPr/>
        </p:nvPicPr>
        <p:blipFill>
          <a:blip r:embed="rId4"/>
          <a:stretch>
            <a:fillRect/>
          </a:stretch>
        </p:blipFill>
        <p:spPr>
          <a:xfrm>
            <a:off x="293804" y="2711756"/>
            <a:ext cx="1687176" cy="1434488"/>
          </a:xfrm>
          <a:prstGeom prst="rect">
            <a:avLst/>
          </a:prstGeom>
        </p:spPr>
      </p:pic>
    </p:spTree>
    <p:extLst>
      <p:ext uri="{BB962C8B-B14F-4D97-AF65-F5344CB8AC3E}">
        <p14:creationId xmlns:p14="http://schemas.microsoft.com/office/powerpoint/2010/main" val="3032914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676ECB-3D04-3C4E-805D-084EA956B5B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46676ECB-3D04-3C4E-805D-084EA956B5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2A07277-83E7-6742-A781-0551DA308326}"/>
              </a:ext>
            </a:extLst>
          </p:cNvPr>
          <p:cNvSpPr>
            <a:spLocks noGrp="1"/>
          </p:cNvSpPr>
          <p:nvPr>
            <p:ph type="ctrTitle"/>
          </p:nvPr>
        </p:nvSpPr>
        <p:spPr/>
        <p:txBody>
          <a:bodyPr vert="horz"/>
          <a:lstStyle/>
          <a:p>
            <a:r>
              <a:rPr lang="en-US" dirty="0"/>
              <a:t>How to join</a:t>
            </a:r>
          </a:p>
        </p:txBody>
      </p:sp>
    </p:spTree>
    <p:extLst>
      <p:ext uri="{BB962C8B-B14F-4D97-AF65-F5344CB8AC3E}">
        <p14:creationId xmlns:p14="http://schemas.microsoft.com/office/powerpoint/2010/main" val="2226325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1546F2-401D-9D47-84F1-EEB302FAC5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CA1546F2-401D-9D47-84F1-EEB302FAC5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 name="Title 3">
            <a:extLst>
              <a:ext uri="{FF2B5EF4-FFF2-40B4-BE49-F238E27FC236}">
                <a16:creationId xmlns:a16="http://schemas.microsoft.com/office/drawing/2014/main" id="{99EE6F6C-27EC-41CB-B767-C843FA3EAD80}"/>
              </a:ext>
            </a:extLst>
          </p:cNvPr>
          <p:cNvSpPr>
            <a:spLocks noGrp="1"/>
          </p:cNvSpPr>
          <p:nvPr>
            <p:ph type="title"/>
          </p:nvPr>
        </p:nvSpPr>
        <p:spPr>
          <a:xfrm>
            <a:off x="479425" y="549275"/>
            <a:ext cx="11206808" cy="525463"/>
          </a:xfrm>
        </p:spPr>
        <p:txBody>
          <a:bodyPr vert="horz"/>
          <a:lstStyle/>
          <a:p>
            <a:r>
              <a:rPr lang="en-US" dirty="0"/>
              <a:t>Apply Now!</a:t>
            </a:r>
          </a:p>
        </p:txBody>
      </p:sp>
      <p:grpSp>
        <p:nvGrpSpPr>
          <p:cNvPr id="9" name="Graphic 17">
            <a:extLst>
              <a:ext uri="{FF2B5EF4-FFF2-40B4-BE49-F238E27FC236}">
                <a16:creationId xmlns:a16="http://schemas.microsoft.com/office/drawing/2014/main" id="{5D8DCD27-A45A-45A4-A338-5E0B70804508}"/>
              </a:ext>
            </a:extLst>
          </p:cNvPr>
          <p:cNvGrpSpPr/>
          <p:nvPr/>
        </p:nvGrpSpPr>
        <p:grpSpPr>
          <a:xfrm>
            <a:off x="1893061" y="2905081"/>
            <a:ext cx="469273" cy="761981"/>
            <a:chOff x="7352098" y="2064341"/>
            <a:chExt cx="1681909" cy="2731001"/>
          </a:xfrm>
          <a:solidFill>
            <a:schemeClr val="accent2"/>
          </a:solidFill>
        </p:grpSpPr>
        <p:sp>
          <p:nvSpPr>
            <p:cNvPr id="10" name="Freeform 20">
              <a:extLst>
                <a:ext uri="{FF2B5EF4-FFF2-40B4-BE49-F238E27FC236}">
                  <a16:creationId xmlns:a16="http://schemas.microsoft.com/office/drawing/2014/main" id="{E8101A6F-A59F-4DAE-87A8-8975395415D1}"/>
                </a:ext>
              </a:extLst>
            </p:cNvPr>
            <p:cNvSpPr/>
            <p:nvPr/>
          </p:nvSpPr>
          <p:spPr>
            <a:xfrm>
              <a:off x="8508154" y="2729715"/>
              <a:ext cx="164758" cy="164482"/>
            </a:xfrm>
            <a:custGeom>
              <a:avLst/>
              <a:gdLst>
                <a:gd name="connsiteX0" fmla="*/ 164758 w 164758"/>
                <a:gd name="connsiteY0" fmla="*/ 82241 h 164482"/>
                <a:gd name="connsiteX1" fmla="*/ 82379 w 164758"/>
                <a:gd name="connsiteY1" fmla="*/ 164483 h 164482"/>
                <a:gd name="connsiteX2" fmla="*/ 0 w 164758"/>
                <a:gd name="connsiteY2" fmla="*/ 82241 h 164482"/>
                <a:gd name="connsiteX3" fmla="*/ 82379 w 164758"/>
                <a:gd name="connsiteY3" fmla="*/ 0 h 164482"/>
                <a:gd name="connsiteX4" fmla="*/ 164758 w 164758"/>
                <a:gd name="connsiteY4" fmla="*/ 82241 h 16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758" h="164482">
                  <a:moveTo>
                    <a:pt x="164758" y="82241"/>
                  </a:moveTo>
                  <a:cubicBezTo>
                    <a:pt x="164758" y="127662"/>
                    <a:pt x="127876" y="164483"/>
                    <a:pt x="82379" y="164483"/>
                  </a:cubicBezTo>
                  <a:cubicBezTo>
                    <a:pt x="36882" y="164483"/>
                    <a:pt x="0" y="127662"/>
                    <a:pt x="0" y="82241"/>
                  </a:cubicBezTo>
                  <a:cubicBezTo>
                    <a:pt x="0" y="36821"/>
                    <a:pt x="36882" y="0"/>
                    <a:pt x="82379" y="0"/>
                  </a:cubicBezTo>
                  <a:cubicBezTo>
                    <a:pt x="127876" y="0"/>
                    <a:pt x="164758" y="36821"/>
                    <a:pt x="164758" y="82241"/>
                  </a:cubicBezTo>
                  <a:close/>
                </a:path>
              </a:pathLst>
            </a:custGeom>
            <a:grpFill/>
            <a:ln w="13721" cap="flat">
              <a:noFill/>
              <a:prstDash val="solid"/>
              <a:miter/>
            </a:ln>
          </p:spPr>
          <p:txBody>
            <a:bodyPr rtlCol="0" anchor="ctr"/>
            <a:lstStyle/>
            <a:p>
              <a:endParaRPr lang="en-US"/>
            </a:p>
          </p:txBody>
        </p:sp>
        <p:sp>
          <p:nvSpPr>
            <p:cNvPr id="11" name="Freeform 21">
              <a:extLst>
                <a:ext uri="{FF2B5EF4-FFF2-40B4-BE49-F238E27FC236}">
                  <a16:creationId xmlns:a16="http://schemas.microsoft.com/office/drawing/2014/main" id="{EDB12284-1343-4C51-A7DE-B7AC49D5343C}"/>
                </a:ext>
              </a:extLst>
            </p:cNvPr>
            <p:cNvSpPr/>
            <p:nvPr/>
          </p:nvSpPr>
          <p:spPr>
            <a:xfrm>
              <a:off x="7352098" y="3105684"/>
              <a:ext cx="1681909" cy="1689658"/>
            </a:xfrm>
            <a:custGeom>
              <a:avLst/>
              <a:gdLst>
                <a:gd name="connsiteX0" fmla="*/ 1653077 w 1681909"/>
                <a:gd name="connsiteY0" fmla="*/ 7824 h 1689658"/>
                <a:gd name="connsiteX1" fmla="*/ 1596785 w 1681909"/>
                <a:gd name="connsiteY1" fmla="*/ 9194 h 1689658"/>
                <a:gd name="connsiteX2" fmla="*/ 840269 w 1681909"/>
                <a:gd name="connsiteY2" fmla="*/ 206573 h 1689658"/>
                <a:gd name="connsiteX3" fmla="*/ 85127 w 1681909"/>
                <a:gd name="connsiteY3" fmla="*/ 9194 h 1689658"/>
                <a:gd name="connsiteX4" fmla="*/ 28834 w 1681909"/>
                <a:gd name="connsiteY4" fmla="*/ 6453 h 1689658"/>
                <a:gd name="connsiteX5" fmla="*/ 1 w 1681909"/>
                <a:gd name="connsiteY5" fmla="*/ 54427 h 1689658"/>
                <a:gd name="connsiteX6" fmla="*/ 1 w 1681909"/>
                <a:gd name="connsiteY6" fmla="*/ 849426 h 1689658"/>
                <a:gd name="connsiteX7" fmla="*/ 840269 w 1681909"/>
                <a:gd name="connsiteY7" fmla="*/ 1689658 h 1689658"/>
                <a:gd name="connsiteX8" fmla="*/ 1681910 w 1681909"/>
                <a:gd name="connsiteY8" fmla="*/ 850797 h 1689658"/>
                <a:gd name="connsiteX9" fmla="*/ 1681910 w 1681909"/>
                <a:gd name="connsiteY9" fmla="*/ 55798 h 1689658"/>
                <a:gd name="connsiteX10" fmla="*/ 1653077 w 1681909"/>
                <a:gd name="connsiteY10" fmla="*/ 7824 h 1689658"/>
                <a:gd name="connsiteX11" fmla="*/ 109840 w 1681909"/>
                <a:gd name="connsiteY11" fmla="*/ 712631 h 1689658"/>
                <a:gd name="connsiteX12" fmla="*/ 841642 w 1681909"/>
                <a:gd name="connsiteY12" fmla="*/ 878211 h 1689658"/>
                <a:gd name="connsiteX13" fmla="*/ 1570698 w 1681909"/>
                <a:gd name="connsiteY13" fmla="*/ 713728 h 1689658"/>
                <a:gd name="connsiteX14" fmla="*/ 1570698 w 1681909"/>
                <a:gd name="connsiteY14" fmla="*/ 834897 h 1689658"/>
                <a:gd name="connsiteX15" fmla="*/ 841642 w 1681909"/>
                <a:gd name="connsiteY15" fmla="*/ 1015279 h 1689658"/>
                <a:gd name="connsiteX16" fmla="*/ 109840 w 1681909"/>
                <a:gd name="connsiteY16" fmla="*/ 833252 h 1689658"/>
                <a:gd name="connsiteX17" fmla="*/ 840269 w 1681909"/>
                <a:gd name="connsiteY17" fmla="*/ 317599 h 1689658"/>
                <a:gd name="connsiteX18" fmla="*/ 1570698 w 1681909"/>
                <a:gd name="connsiteY18" fmla="*/ 151746 h 1689658"/>
                <a:gd name="connsiteX19" fmla="*/ 1570698 w 1681909"/>
                <a:gd name="connsiteY19" fmla="*/ 586528 h 1689658"/>
                <a:gd name="connsiteX20" fmla="*/ 841642 w 1681909"/>
                <a:gd name="connsiteY20" fmla="*/ 767185 h 1689658"/>
                <a:gd name="connsiteX21" fmla="*/ 109840 w 1681909"/>
                <a:gd name="connsiteY21" fmla="*/ 584746 h 1689658"/>
                <a:gd name="connsiteX22" fmla="*/ 109840 w 1681909"/>
                <a:gd name="connsiteY22" fmla="*/ 151746 h 1689658"/>
                <a:gd name="connsiteX23" fmla="*/ 840269 w 1681909"/>
                <a:gd name="connsiteY23" fmla="*/ 317599 h 1689658"/>
                <a:gd name="connsiteX24" fmla="*/ 840269 w 1681909"/>
                <a:gd name="connsiteY24" fmla="*/ 1580003 h 1689658"/>
                <a:gd name="connsiteX25" fmla="*/ 118902 w 1681909"/>
                <a:gd name="connsiteY25" fmla="*/ 965249 h 1689658"/>
                <a:gd name="connsiteX26" fmla="*/ 841642 w 1681909"/>
                <a:gd name="connsiteY26" fmla="*/ 1126305 h 1689658"/>
                <a:gd name="connsiteX27" fmla="*/ 1561224 w 1681909"/>
                <a:gd name="connsiteY27" fmla="*/ 967168 h 1689658"/>
                <a:gd name="connsiteX28" fmla="*/ 840269 w 1681909"/>
                <a:gd name="connsiteY28" fmla="*/ 1580003 h 168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81909" h="1689658">
                  <a:moveTo>
                    <a:pt x="1653077" y="7824"/>
                  </a:moveTo>
                  <a:cubicBezTo>
                    <a:pt x="1635489" y="-2088"/>
                    <a:pt x="1613865" y="-1561"/>
                    <a:pt x="1596785" y="9194"/>
                  </a:cubicBezTo>
                  <a:cubicBezTo>
                    <a:pt x="1401821" y="132556"/>
                    <a:pt x="1118985" y="206573"/>
                    <a:pt x="840269" y="206573"/>
                  </a:cubicBezTo>
                  <a:cubicBezTo>
                    <a:pt x="551942" y="206573"/>
                    <a:pt x="277345" y="133927"/>
                    <a:pt x="85127" y="9194"/>
                  </a:cubicBezTo>
                  <a:cubicBezTo>
                    <a:pt x="68298" y="-1995"/>
                    <a:pt x="46673" y="-3047"/>
                    <a:pt x="28834" y="6453"/>
                  </a:cubicBezTo>
                  <a:cubicBezTo>
                    <a:pt x="10984" y="15794"/>
                    <a:pt x="-143" y="34308"/>
                    <a:pt x="1" y="54427"/>
                  </a:cubicBezTo>
                  <a:lnTo>
                    <a:pt x="1" y="849426"/>
                  </a:lnTo>
                  <a:cubicBezTo>
                    <a:pt x="-378" y="1313089"/>
                    <a:pt x="375824" y="1689274"/>
                    <a:pt x="840269" y="1689658"/>
                  </a:cubicBezTo>
                  <a:cubicBezTo>
                    <a:pt x="1304715" y="1690042"/>
                    <a:pt x="1681525" y="1314459"/>
                    <a:pt x="1681910" y="850797"/>
                  </a:cubicBezTo>
                  <a:lnTo>
                    <a:pt x="1681910" y="55798"/>
                  </a:lnTo>
                  <a:cubicBezTo>
                    <a:pt x="1681814" y="35746"/>
                    <a:pt x="1670747" y="17349"/>
                    <a:pt x="1653077" y="7824"/>
                  </a:cubicBezTo>
                  <a:close/>
                  <a:moveTo>
                    <a:pt x="109840" y="712631"/>
                  </a:moveTo>
                  <a:cubicBezTo>
                    <a:pt x="310571" y="818449"/>
                    <a:pt x="571438" y="878211"/>
                    <a:pt x="841642" y="878211"/>
                  </a:cubicBezTo>
                  <a:cubicBezTo>
                    <a:pt x="1109649" y="878211"/>
                    <a:pt x="1369281" y="818860"/>
                    <a:pt x="1570698" y="713728"/>
                  </a:cubicBezTo>
                  <a:lnTo>
                    <a:pt x="1570698" y="834897"/>
                  </a:lnTo>
                  <a:cubicBezTo>
                    <a:pt x="1379990" y="949349"/>
                    <a:pt x="1117612" y="1015279"/>
                    <a:pt x="841642" y="1015279"/>
                  </a:cubicBezTo>
                  <a:cubicBezTo>
                    <a:pt x="565672" y="1015279"/>
                    <a:pt x="300685" y="949486"/>
                    <a:pt x="109840" y="833252"/>
                  </a:cubicBezTo>
                  <a:close/>
                  <a:moveTo>
                    <a:pt x="840269" y="317599"/>
                  </a:moveTo>
                  <a:cubicBezTo>
                    <a:pt x="1105256" y="317599"/>
                    <a:pt x="1366123" y="257289"/>
                    <a:pt x="1570698" y="151746"/>
                  </a:cubicBezTo>
                  <a:lnTo>
                    <a:pt x="1570698" y="586528"/>
                  </a:lnTo>
                  <a:cubicBezTo>
                    <a:pt x="1381089" y="701666"/>
                    <a:pt x="1116514" y="767185"/>
                    <a:pt x="841642" y="767185"/>
                  </a:cubicBezTo>
                  <a:cubicBezTo>
                    <a:pt x="566770" y="767185"/>
                    <a:pt x="300685" y="700981"/>
                    <a:pt x="109840" y="584746"/>
                  </a:cubicBezTo>
                  <a:lnTo>
                    <a:pt x="109840" y="151746"/>
                  </a:lnTo>
                  <a:cubicBezTo>
                    <a:pt x="311669" y="257289"/>
                    <a:pt x="572537" y="316228"/>
                    <a:pt x="840269" y="317599"/>
                  </a:cubicBezTo>
                  <a:close/>
                  <a:moveTo>
                    <a:pt x="840269" y="1580003"/>
                  </a:moveTo>
                  <a:cubicBezTo>
                    <a:pt x="481423" y="1579194"/>
                    <a:pt x="176018" y="1318928"/>
                    <a:pt x="118902" y="965249"/>
                  </a:cubicBezTo>
                  <a:cubicBezTo>
                    <a:pt x="319358" y="1067914"/>
                    <a:pt x="575832" y="1126305"/>
                    <a:pt x="841642" y="1126305"/>
                  </a:cubicBezTo>
                  <a:cubicBezTo>
                    <a:pt x="1104981" y="1126305"/>
                    <a:pt x="1361043" y="1069422"/>
                    <a:pt x="1561224" y="967168"/>
                  </a:cubicBezTo>
                  <a:cubicBezTo>
                    <a:pt x="1503394" y="1319997"/>
                    <a:pt x="1198384" y="1579263"/>
                    <a:pt x="840269" y="1580003"/>
                  </a:cubicBezTo>
                  <a:close/>
                </a:path>
              </a:pathLst>
            </a:custGeom>
            <a:grpFill/>
            <a:ln w="13721" cap="flat">
              <a:noFill/>
              <a:prstDash val="solid"/>
              <a:miter/>
            </a:ln>
          </p:spPr>
          <p:txBody>
            <a:bodyPr rtlCol="0" anchor="ctr"/>
            <a:lstStyle/>
            <a:p>
              <a:endParaRPr lang="en-US"/>
            </a:p>
          </p:txBody>
        </p:sp>
        <p:sp>
          <p:nvSpPr>
            <p:cNvPr id="12" name="Freeform 22">
              <a:extLst>
                <a:ext uri="{FF2B5EF4-FFF2-40B4-BE49-F238E27FC236}">
                  <a16:creationId xmlns:a16="http://schemas.microsoft.com/office/drawing/2014/main" id="{CD62E510-21B8-4C68-8E82-0FC22DFF0553}"/>
                </a:ext>
              </a:extLst>
            </p:cNvPr>
            <p:cNvSpPr/>
            <p:nvPr/>
          </p:nvSpPr>
          <p:spPr>
            <a:xfrm>
              <a:off x="7354254" y="2064341"/>
              <a:ext cx="1678930" cy="1108105"/>
            </a:xfrm>
            <a:custGeom>
              <a:avLst/>
              <a:gdLst>
                <a:gd name="connsiteX0" fmla="*/ 85717 w 1678930"/>
                <a:gd name="connsiteY0" fmla="*/ 928546 h 1108105"/>
                <a:gd name="connsiteX1" fmla="*/ 839487 w 1678930"/>
                <a:gd name="connsiteY1" fmla="*/ 1108106 h 1108105"/>
                <a:gd name="connsiteX2" fmla="*/ 1593256 w 1678930"/>
                <a:gd name="connsiteY2" fmla="*/ 928546 h 1108105"/>
                <a:gd name="connsiteX3" fmla="*/ 1678931 w 1678930"/>
                <a:gd name="connsiteY3" fmla="*/ 783527 h 1108105"/>
                <a:gd name="connsiteX4" fmla="*/ 1678931 w 1678930"/>
                <a:gd name="connsiteY4" fmla="*/ 769820 h 1108105"/>
                <a:gd name="connsiteX5" fmla="*/ 768623 w 1678930"/>
                <a:gd name="connsiteY5" fmla="*/ 3052 h 1108105"/>
                <a:gd name="connsiteX6" fmla="*/ 592 w 1678930"/>
                <a:gd name="connsiteY6" fmla="*/ 769546 h 1108105"/>
                <a:gd name="connsiteX7" fmla="*/ 85717 w 1678930"/>
                <a:gd name="connsiteY7" fmla="*/ 928546 h 1108105"/>
                <a:gd name="connsiteX8" fmla="*/ 148874 w 1678930"/>
                <a:gd name="connsiteY8" fmla="*/ 603281 h 1108105"/>
                <a:gd name="connsiteX9" fmla="*/ 652760 w 1678930"/>
                <a:gd name="connsiteY9" fmla="*/ 739391 h 1108105"/>
                <a:gd name="connsiteX10" fmla="*/ 886559 w 1678930"/>
                <a:gd name="connsiteY10" fmla="*/ 877842 h 1108105"/>
                <a:gd name="connsiteX11" fmla="*/ 1025245 w 1678930"/>
                <a:gd name="connsiteY11" fmla="*/ 644435 h 1108105"/>
                <a:gd name="connsiteX12" fmla="*/ 791444 w 1678930"/>
                <a:gd name="connsiteY12" fmla="*/ 505983 h 1108105"/>
                <a:gd name="connsiteX13" fmla="*/ 657154 w 1678930"/>
                <a:gd name="connsiteY13" fmla="*/ 629736 h 1108105"/>
                <a:gd name="connsiteX14" fmla="*/ 193496 w 1678930"/>
                <a:gd name="connsiteY14" fmla="*/ 503084 h 1108105"/>
                <a:gd name="connsiteX15" fmla="*/ 839487 w 1678930"/>
                <a:gd name="connsiteY15" fmla="*/ 114357 h 1108105"/>
                <a:gd name="connsiteX16" fmla="*/ 1568543 w 1678930"/>
                <a:gd name="connsiteY16" fmla="*/ 779141 h 1108105"/>
                <a:gd name="connsiteX17" fmla="*/ 1539710 w 1678930"/>
                <a:gd name="connsiteY17" fmla="*/ 832597 h 1108105"/>
                <a:gd name="connsiteX18" fmla="*/ 839487 w 1678930"/>
                <a:gd name="connsiteY18" fmla="*/ 997080 h 1108105"/>
                <a:gd name="connsiteX19" fmla="*/ 139263 w 1678930"/>
                <a:gd name="connsiteY19" fmla="*/ 832597 h 1108105"/>
                <a:gd name="connsiteX20" fmla="*/ 110431 w 1678930"/>
                <a:gd name="connsiteY20" fmla="*/ 779141 h 1108105"/>
                <a:gd name="connsiteX21" fmla="*/ 148874 w 1678930"/>
                <a:gd name="connsiteY21" fmla="*/ 603281 h 1108105"/>
                <a:gd name="connsiteX22" fmla="*/ 758480 w 1678930"/>
                <a:gd name="connsiteY22" fmla="*/ 691417 h 1108105"/>
                <a:gd name="connsiteX23" fmla="*/ 839487 w 1678930"/>
                <a:gd name="connsiteY23" fmla="*/ 610546 h 1108105"/>
                <a:gd name="connsiteX24" fmla="*/ 920493 w 1678930"/>
                <a:gd name="connsiteY24" fmla="*/ 691417 h 1108105"/>
                <a:gd name="connsiteX25" fmla="*/ 839487 w 1678930"/>
                <a:gd name="connsiteY25" fmla="*/ 772287 h 1108105"/>
                <a:gd name="connsiteX26" fmla="*/ 758480 w 1678930"/>
                <a:gd name="connsiteY26" fmla="*/ 691417 h 110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78930" h="1108105">
                  <a:moveTo>
                    <a:pt x="85717" y="928546"/>
                  </a:moveTo>
                  <a:cubicBezTo>
                    <a:pt x="291665" y="1045054"/>
                    <a:pt x="559397" y="1108106"/>
                    <a:pt x="839487" y="1108106"/>
                  </a:cubicBezTo>
                  <a:cubicBezTo>
                    <a:pt x="1119576" y="1108106"/>
                    <a:pt x="1385935" y="1043683"/>
                    <a:pt x="1593256" y="928546"/>
                  </a:cubicBezTo>
                  <a:cubicBezTo>
                    <a:pt x="1646157" y="899412"/>
                    <a:pt x="1678986" y="843844"/>
                    <a:pt x="1678931" y="783527"/>
                  </a:cubicBezTo>
                  <a:cubicBezTo>
                    <a:pt x="1678931" y="778866"/>
                    <a:pt x="1678931" y="774206"/>
                    <a:pt x="1678931" y="769820"/>
                  </a:cubicBezTo>
                  <a:cubicBezTo>
                    <a:pt x="1639649" y="307129"/>
                    <a:pt x="1232089" y="-36165"/>
                    <a:pt x="768623" y="3052"/>
                  </a:cubicBezTo>
                  <a:cubicBezTo>
                    <a:pt x="359758" y="37648"/>
                    <a:pt x="35380" y="361378"/>
                    <a:pt x="592" y="769546"/>
                  </a:cubicBezTo>
                  <a:cubicBezTo>
                    <a:pt x="-4920" y="834666"/>
                    <a:pt x="28420" y="896939"/>
                    <a:pt x="85717" y="928546"/>
                  </a:cubicBezTo>
                  <a:close/>
                  <a:moveTo>
                    <a:pt x="148874" y="603281"/>
                  </a:moveTo>
                  <a:cubicBezTo>
                    <a:pt x="307777" y="677159"/>
                    <a:pt x="478224" y="723200"/>
                    <a:pt x="652760" y="739391"/>
                  </a:cubicBezTo>
                  <a:cubicBezTo>
                    <a:pt x="679026" y="842077"/>
                    <a:pt x="783701" y="904064"/>
                    <a:pt x="886559" y="877842"/>
                  </a:cubicBezTo>
                  <a:cubicBezTo>
                    <a:pt x="989418" y="851621"/>
                    <a:pt x="1051510" y="747121"/>
                    <a:pt x="1025245" y="644435"/>
                  </a:cubicBezTo>
                  <a:cubicBezTo>
                    <a:pt x="998980" y="541748"/>
                    <a:pt x="894303" y="479760"/>
                    <a:pt x="791444" y="505983"/>
                  </a:cubicBezTo>
                  <a:cubicBezTo>
                    <a:pt x="728644" y="521991"/>
                    <a:pt x="678155" y="568519"/>
                    <a:pt x="657154" y="629736"/>
                  </a:cubicBezTo>
                  <a:cubicBezTo>
                    <a:pt x="496469" y="614380"/>
                    <a:pt x="339629" y="571538"/>
                    <a:pt x="193496" y="503084"/>
                  </a:cubicBezTo>
                  <a:cubicBezTo>
                    <a:pt x="321203" y="265119"/>
                    <a:pt x="569073" y="115963"/>
                    <a:pt x="839487" y="114357"/>
                  </a:cubicBezTo>
                  <a:cubicBezTo>
                    <a:pt x="1217101" y="117051"/>
                    <a:pt x="1531733" y="403943"/>
                    <a:pt x="1568543" y="779141"/>
                  </a:cubicBezTo>
                  <a:cubicBezTo>
                    <a:pt x="1569984" y="801003"/>
                    <a:pt x="1558794" y="821769"/>
                    <a:pt x="1539710" y="832597"/>
                  </a:cubicBezTo>
                  <a:cubicBezTo>
                    <a:pt x="1348865" y="938140"/>
                    <a:pt x="1100354" y="997080"/>
                    <a:pt x="839487" y="997080"/>
                  </a:cubicBezTo>
                  <a:cubicBezTo>
                    <a:pt x="578619" y="997080"/>
                    <a:pt x="330109" y="939511"/>
                    <a:pt x="139263" y="832597"/>
                  </a:cubicBezTo>
                  <a:cubicBezTo>
                    <a:pt x="120184" y="821769"/>
                    <a:pt x="108984" y="801003"/>
                    <a:pt x="110431" y="779141"/>
                  </a:cubicBezTo>
                  <a:cubicBezTo>
                    <a:pt x="115761" y="719136"/>
                    <a:pt x="128679" y="660047"/>
                    <a:pt x="148874" y="603281"/>
                  </a:cubicBezTo>
                  <a:close/>
                  <a:moveTo>
                    <a:pt x="758480" y="691417"/>
                  </a:moveTo>
                  <a:cubicBezTo>
                    <a:pt x="758556" y="646784"/>
                    <a:pt x="794779" y="610621"/>
                    <a:pt x="839487" y="610546"/>
                  </a:cubicBezTo>
                  <a:cubicBezTo>
                    <a:pt x="884225" y="610546"/>
                    <a:pt x="920493" y="646753"/>
                    <a:pt x="920493" y="691417"/>
                  </a:cubicBezTo>
                  <a:cubicBezTo>
                    <a:pt x="920493" y="736080"/>
                    <a:pt x="884225" y="772287"/>
                    <a:pt x="839487" y="772287"/>
                  </a:cubicBezTo>
                  <a:cubicBezTo>
                    <a:pt x="794748" y="772287"/>
                    <a:pt x="758480" y="736080"/>
                    <a:pt x="758480" y="691417"/>
                  </a:cubicBezTo>
                  <a:close/>
                </a:path>
              </a:pathLst>
            </a:custGeom>
            <a:grpFill/>
            <a:ln w="13721" cap="flat">
              <a:noFill/>
              <a:prstDash val="solid"/>
              <a:miter/>
            </a:ln>
          </p:spPr>
          <p:txBody>
            <a:bodyPr rtlCol="0" anchor="ctr"/>
            <a:lstStyle/>
            <a:p>
              <a:endParaRPr lang="en-US"/>
            </a:p>
          </p:txBody>
        </p:sp>
      </p:grpSp>
      <p:sp>
        <p:nvSpPr>
          <p:cNvPr id="17" name="Text Placeholder 5">
            <a:extLst>
              <a:ext uri="{FF2B5EF4-FFF2-40B4-BE49-F238E27FC236}">
                <a16:creationId xmlns:a16="http://schemas.microsoft.com/office/drawing/2014/main" id="{633D4EFB-21EF-4EBC-8862-50CAD2F4433F}"/>
              </a:ext>
            </a:extLst>
          </p:cNvPr>
          <p:cNvSpPr txBox="1">
            <a:spLocks/>
          </p:cNvSpPr>
          <p:nvPr/>
        </p:nvSpPr>
        <p:spPr>
          <a:xfrm>
            <a:off x="0" y="4997887"/>
            <a:ext cx="12192000" cy="387798"/>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800" dirty="0"/>
              <a:t>Apply at </a:t>
            </a:r>
            <a:r>
              <a:rPr lang="en-US" sz="2800" u="sng" dirty="0">
                <a:hlinkClick r:id="rId6"/>
              </a:rPr>
              <a:t>membership@c2pa.org</a:t>
            </a:r>
            <a:endParaRPr lang="en-GB" sz="2800" dirty="0"/>
          </a:p>
        </p:txBody>
      </p:sp>
      <p:sp>
        <p:nvSpPr>
          <p:cNvPr id="8" name="Text Placeholder 5">
            <a:extLst>
              <a:ext uri="{FF2B5EF4-FFF2-40B4-BE49-F238E27FC236}">
                <a16:creationId xmlns:a16="http://schemas.microsoft.com/office/drawing/2014/main" id="{231EA9F7-F27A-4E17-9B50-A46174C06A90}"/>
              </a:ext>
            </a:extLst>
          </p:cNvPr>
          <p:cNvSpPr txBox="1">
            <a:spLocks/>
          </p:cNvSpPr>
          <p:nvPr/>
        </p:nvSpPr>
        <p:spPr>
          <a:xfrm>
            <a:off x="2315839" y="2908919"/>
            <a:ext cx="2286000" cy="738664"/>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2400" dirty="0"/>
              <a:t>Steering</a:t>
            </a:r>
          </a:p>
          <a:p>
            <a:pPr marL="0" indent="0" algn="ctr">
              <a:lnSpc>
                <a:spcPct val="100000"/>
              </a:lnSpc>
              <a:spcBef>
                <a:spcPts val="0"/>
              </a:spcBef>
              <a:buNone/>
            </a:pPr>
            <a:r>
              <a:rPr lang="en-US" sz="2400" dirty="0"/>
              <a:t>(By invitation)</a:t>
            </a:r>
          </a:p>
        </p:txBody>
      </p:sp>
      <p:sp>
        <p:nvSpPr>
          <p:cNvPr id="31" name="Text Placeholder 5">
            <a:extLst>
              <a:ext uri="{FF2B5EF4-FFF2-40B4-BE49-F238E27FC236}">
                <a16:creationId xmlns:a16="http://schemas.microsoft.com/office/drawing/2014/main" id="{06FBDEEF-F01F-4605-98BE-559F587BAF47}"/>
              </a:ext>
            </a:extLst>
          </p:cNvPr>
          <p:cNvSpPr txBox="1">
            <a:spLocks/>
          </p:cNvSpPr>
          <p:nvPr/>
        </p:nvSpPr>
        <p:spPr>
          <a:xfrm>
            <a:off x="3513555" y="1855802"/>
            <a:ext cx="5164890" cy="369332"/>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2800" dirty="0"/>
              <a:t>Various Member Levels</a:t>
            </a:r>
            <a:endParaRPr lang="en-GB" sz="2800" dirty="0"/>
          </a:p>
        </p:txBody>
      </p:sp>
      <p:grpSp>
        <p:nvGrpSpPr>
          <p:cNvPr id="32" name="Graphic 17">
            <a:extLst>
              <a:ext uri="{FF2B5EF4-FFF2-40B4-BE49-F238E27FC236}">
                <a16:creationId xmlns:a16="http://schemas.microsoft.com/office/drawing/2014/main" id="{7ADA1FC3-5D2C-4B8F-BCFF-3F9C6DE6EAB1}"/>
              </a:ext>
            </a:extLst>
          </p:cNvPr>
          <p:cNvGrpSpPr/>
          <p:nvPr/>
        </p:nvGrpSpPr>
        <p:grpSpPr>
          <a:xfrm>
            <a:off x="5063073" y="2905081"/>
            <a:ext cx="469273" cy="761981"/>
            <a:chOff x="7352098" y="2064341"/>
            <a:chExt cx="1681909" cy="2731001"/>
          </a:xfrm>
          <a:solidFill>
            <a:schemeClr val="accent2"/>
          </a:solidFill>
        </p:grpSpPr>
        <p:sp>
          <p:nvSpPr>
            <p:cNvPr id="33" name="Freeform 20">
              <a:extLst>
                <a:ext uri="{FF2B5EF4-FFF2-40B4-BE49-F238E27FC236}">
                  <a16:creationId xmlns:a16="http://schemas.microsoft.com/office/drawing/2014/main" id="{046A8FC7-535A-4EC0-A509-2B1B244673EF}"/>
                </a:ext>
              </a:extLst>
            </p:cNvPr>
            <p:cNvSpPr/>
            <p:nvPr/>
          </p:nvSpPr>
          <p:spPr>
            <a:xfrm>
              <a:off x="8508154" y="2729715"/>
              <a:ext cx="164758" cy="164482"/>
            </a:xfrm>
            <a:custGeom>
              <a:avLst/>
              <a:gdLst>
                <a:gd name="connsiteX0" fmla="*/ 164758 w 164758"/>
                <a:gd name="connsiteY0" fmla="*/ 82241 h 164482"/>
                <a:gd name="connsiteX1" fmla="*/ 82379 w 164758"/>
                <a:gd name="connsiteY1" fmla="*/ 164483 h 164482"/>
                <a:gd name="connsiteX2" fmla="*/ 0 w 164758"/>
                <a:gd name="connsiteY2" fmla="*/ 82241 h 164482"/>
                <a:gd name="connsiteX3" fmla="*/ 82379 w 164758"/>
                <a:gd name="connsiteY3" fmla="*/ 0 h 164482"/>
                <a:gd name="connsiteX4" fmla="*/ 164758 w 164758"/>
                <a:gd name="connsiteY4" fmla="*/ 82241 h 16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758" h="164482">
                  <a:moveTo>
                    <a:pt x="164758" y="82241"/>
                  </a:moveTo>
                  <a:cubicBezTo>
                    <a:pt x="164758" y="127662"/>
                    <a:pt x="127876" y="164483"/>
                    <a:pt x="82379" y="164483"/>
                  </a:cubicBezTo>
                  <a:cubicBezTo>
                    <a:pt x="36882" y="164483"/>
                    <a:pt x="0" y="127662"/>
                    <a:pt x="0" y="82241"/>
                  </a:cubicBezTo>
                  <a:cubicBezTo>
                    <a:pt x="0" y="36821"/>
                    <a:pt x="36882" y="0"/>
                    <a:pt x="82379" y="0"/>
                  </a:cubicBezTo>
                  <a:cubicBezTo>
                    <a:pt x="127876" y="0"/>
                    <a:pt x="164758" y="36821"/>
                    <a:pt x="164758" y="82241"/>
                  </a:cubicBezTo>
                  <a:close/>
                </a:path>
              </a:pathLst>
            </a:custGeom>
            <a:grpFill/>
            <a:ln w="13721" cap="flat">
              <a:noFill/>
              <a:prstDash val="solid"/>
              <a:miter/>
            </a:ln>
          </p:spPr>
          <p:txBody>
            <a:bodyPr rtlCol="0" anchor="ctr"/>
            <a:lstStyle/>
            <a:p>
              <a:endParaRPr lang="en-US"/>
            </a:p>
          </p:txBody>
        </p:sp>
        <p:sp>
          <p:nvSpPr>
            <p:cNvPr id="34" name="Freeform 21">
              <a:extLst>
                <a:ext uri="{FF2B5EF4-FFF2-40B4-BE49-F238E27FC236}">
                  <a16:creationId xmlns:a16="http://schemas.microsoft.com/office/drawing/2014/main" id="{0BE496EB-FC14-4C70-A8C9-7B6EF566F5CA}"/>
                </a:ext>
              </a:extLst>
            </p:cNvPr>
            <p:cNvSpPr/>
            <p:nvPr/>
          </p:nvSpPr>
          <p:spPr>
            <a:xfrm>
              <a:off x="7352098" y="3105684"/>
              <a:ext cx="1681909" cy="1689658"/>
            </a:xfrm>
            <a:custGeom>
              <a:avLst/>
              <a:gdLst>
                <a:gd name="connsiteX0" fmla="*/ 1653077 w 1681909"/>
                <a:gd name="connsiteY0" fmla="*/ 7824 h 1689658"/>
                <a:gd name="connsiteX1" fmla="*/ 1596785 w 1681909"/>
                <a:gd name="connsiteY1" fmla="*/ 9194 h 1689658"/>
                <a:gd name="connsiteX2" fmla="*/ 840269 w 1681909"/>
                <a:gd name="connsiteY2" fmla="*/ 206573 h 1689658"/>
                <a:gd name="connsiteX3" fmla="*/ 85127 w 1681909"/>
                <a:gd name="connsiteY3" fmla="*/ 9194 h 1689658"/>
                <a:gd name="connsiteX4" fmla="*/ 28834 w 1681909"/>
                <a:gd name="connsiteY4" fmla="*/ 6453 h 1689658"/>
                <a:gd name="connsiteX5" fmla="*/ 1 w 1681909"/>
                <a:gd name="connsiteY5" fmla="*/ 54427 h 1689658"/>
                <a:gd name="connsiteX6" fmla="*/ 1 w 1681909"/>
                <a:gd name="connsiteY6" fmla="*/ 849426 h 1689658"/>
                <a:gd name="connsiteX7" fmla="*/ 840269 w 1681909"/>
                <a:gd name="connsiteY7" fmla="*/ 1689658 h 1689658"/>
                <a:gd name="connsiteX8" fmla="*/ 1681910 w 1681909"/>
                <a:gd name="connsiteY8" fmla="*/ 850797 h 1689658"/>
                <a:gd name="connsiteX9" fmla="*/ 1681910 w 1681909"/>
                <a:gd name="connsiteY9" fmla="*/ 55798 h 1689658"/>
                <a:gd name="connsiteX10" fmla="*/ 1653077 w 1681909"/>
                <a:gd name="connsiteY10" fmla="*/ 7824 h 1689658"/>
                <a:gd name="connsiteX11" fmla="*/ 109840 w 1681909"/>
                <a:gd name="connsiteY11" fmla="*/ 712631 h 1689658"/>
                <a:gd name="connsiteX12" fmla="*/ 841642 w 1681909"/>
                <a:gd name="connsiteY12" fmla="*/ 878211 h 1689658"/>
                <a:gd name="connsiteX13" fmla="*/ 1570698 w 1681909"/>
                <a:gd name="connsiteY13" fmla="*/ 713728 h 1689658"/>
                <a:gd name="connsiteX14" fmla="*/ 1570698 w 1681909"/>
                <a:gd name="connsiteY14" fmla="*/ 834897 h 1689658"/>
                <a:gd name="connsiteX15" fmla="*/ 841642 w 1681909"/>
                <a:gd name="connsiteY15" fmla="*/ 1015279 h 1689658"/>
                <a:gd name="connsiteX16" fmla="*/ 109840 w 1681909"/>
                <a:gd name="connsiteY16" fmla="*/ 833252 h 1689658"/>
                <a:gd name="connsiteX17" fmla="*/ 840269 w 1681909"/>
                <a:gd name="connsiteY17" fmla="*/ 317599 h 1689658"/>
                <a:gd name="connsiteX18" fmla="*/ 1570698 w 1681909"/>
                <a:gd name="connsiteY18" fmla="*/ 151746 h 1689658"/>
                <a:gd name="connsiteX19" fmla="*/ 1570698 w 1681909"/>
                <a:gd name="connsiteY19" fmla="*/ 586528 h 1689658"/>
                <a:gd name="connsiteX20" fmla="*/ 841642 w 1681909"/>
                <a:gd name="connsiteY20" fmla="*/ 767185 h 1689658"/>
                <a:gd name="connsiteX21" fmla="*/ 109840 w 1681909"/>
                <a:gd name="connsiteY21" fmla="*/ 584746 h 1689658"/>
                <a:gd name="connsiteX22" fmla="*/ 109840 w 1681909"/>
                <a:gd name="connsiteY22" fmla="*/ 151746 h 1689658"/>
                <a:gd name="connsiteX23" fmla="*/ 840269 w 1681909"/>
                <a:gd name="connsiteY23" fmla="*/ 317599 h 1689658"/>
                <a:gd name="connsiteX24" fmla="*/ 840269 w 1681909"/>
                <a:gd name="connsiteY24" fmla="*/ 1580003 h 1689658"/>
                <a:gd name="connsiteX25" fmla="*/ 118902 w 1681909"/>
                <a:gd name="connsiteY25" fmla="*/ 965249 h 1689658"/>
                <a:gd name="connsiteX26" fmla="*/ 841642 w 1681909"/>
                <a:gd name="connsiteY26" fmla="*/ 1126305 h 1689658"/>
                <a:gd name="connsiteX27" fmla="*/ 1561224 w 1681909"/>
                <a:gd name="connsiteY27" fmla="*/ 967168 h 1689658"/>
                <a:gd name="connsiteX28" fmla="*/ 840269 w 1681909"/>
                <a:gd name="connsiteY28" fmla="*/ 1580003 h 168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81909" h="1689658">
                  <a:moveTo>
                    <a:pt x="1653077" y="7824"/>
                  </a:moveTo>
                  <a:cubicBezTo>
                    <a:pt x="1635489" y="-2088"/>
                    <a:pt x="1613865" y="-1561"/>
                    <a:pt x="1596785" y="9194"/>
                  </a:cubicBezTo>
                  <a:cubicBezTo>
                    <a:pt x="1401821" y="132556"/>
                    <a:pt x="1118985" y="206573"/>
                    <a:pt x="840269" y="206573"/>
                  </a:cubicBezTo>
                  <a:cubicBezTo>
                    <a:pt x="551942" y="206573"/>
                    <a:pt x="277345" y="133927"/>
                    <a:pt x="85127" y="9194"/>
                  </a:cubicBezTo>
                  <a:cubicBezTo>
                    <a:pt x="68298" y="-1995"/>
                    <a:pt x="46673" y="-3047"/>
                    <a:pt x="28834" y="6453"/>
                  </a:cubicBezTo>
                  <a:cubicBezTo>
                    <a:pt x="10984" y="15794"/>
                    <a:pt x="-143" y="34308"/>
                    <a:pt x="1" y="54427"/>
                  </a:cubicBezTo>
                  <a:lnTo>
                    <a:pt x="1" y="849426"/>
                  </a:lnTo>
                  <a:cubicBezTo>
                    <a:pt x="-378" y="1313089"/>
                    <a:pt x="375824" y="1689274"/>
                    <a:pt x="840269" y="1689658"/>
                  </a:cubicBezTo>
                  <a:cubicBezTo>
                    <a:pt x="1304715" y="1690042"/>
                    <a:pt x="1681525" y="1314459"/>
                    <a:pt x="1681910" y="850797"/>
                  </a:cubicBezTo>
                  <a:lnTo>
                    <a:pt x="1681910" y="55798"/>
                  </a:lnTo>
                  <a:cubicBezTo>
                    <a:pt x="1681814" y="35746"/>
                    <a:pt x="1670747" y="17349"/>
                    <a:pt x="1653077" y="7824"/>
                  </a:cubicBezTo>
                  <a:close/>
                  <a:moveTo>
                    <a:pt x="109840" y="712631"/>
                  </a:moveTo>
                  <a:cubicBezTo>
                    <a:pt x="310571" y="818449"/>
                    <a:pt x="571438" y="878211"/>
                    <a:pt x="841642" y="878211"/>
                  </a:cubicBezTo>
                  <a:cubicBezTo>
                    <a:pt x="1109649" y="878211"/>
                    <a:pt x="1369281" y="818860"/>
                    <a:pt x="1570698" y="713728"/>
                  </a:cubicBezTo>
                  <a:lnTo>
                    <a:pt x="1570698" y="834897"/>
                  </a:lnTo>
                  <a:cubicBezTo>
                    <a:pt x="1379990" y="949349"/>
                    <a:pt x="1117612" y="1015279"/>
                    <a:pt x="841642" y="1015279"/>
                  </a:cubicBezTo>
                  <a:cubicBezTo>
                    <a:pt x="565672" y="1015279"/>
                    <a:pt x="300685" y="949486"/>
                    <a:pt x="109840" y="833252"/>
                  </a:cubicBezTo>
                  <a:close/>
                  <a:moveTo>
                    <a:pt x="840269" y="317599"/>
                  </a:moveTo>
                  <a:cubicBezTo>
                    <a:pt x="1105256" y="317599"/>
                    <a:pt x="1366123" y="257289"/>
                    <a:pt x="1570698" y="151746"/>
                  </a:cubicBezTo>
                  <a:lnTo>
                    <a:pt x="1570698" y="586528"/>
                  </a:lnTo>
                  <a:cubicBezTo>
                    <a:pt x="1381089" y="701666"/>
                    <a:pt x="1116514" y="767185"/>
                    <a:pt x="841642" y="767185"/>
                  </a:cubicBezTo>
                  <a:cubicBezTo>
                    <a:pt x="566770" y="767185"/>
                    <a:pt x="300685" y="700981"/>
                    <a:pt x="109840" y="584746"/>
                  </a:cubicBezTo>
                  <a:lnTo>
                    <a:pt x="109840" y="151746"/>
                  </a:lnTo>
                  <a:cubicBezTo>
                    <a:pt x="311669" y="257289"/>
                    <a:pt x="572537" y="316228"/>
                    <a:pt x="840269" y="317599"/>
                  </a:cubicBezTo>
                  <a:close/>
                  <a:moveTo>
                    <a:pt x="840269" y="1580003"/>
                  </a:moveTo>
                  <a:cubicBezTo>
                    <a:pt x="481423" y="1579194"/>
                    <a:pt x="176018" y="1318928"/>
                    <a:pt x="118902" y="965249"/>
                  </a:cubicBezTo>
                  <a:cubicBezTo>
                    <a:pt x="319358" y="1067914"/>
                    <a:pt x="575832" y="1126305"/>
                    <a:pt x="841642" y="1126305"/>
                  </a:cubicBezTo>
                  <a:cubicBezTo>
                    <a:pt x="1104981" y="1126305"/>
                    <a:pt x="1361043" y="1069422"/>
                    <a:pt x="1561224" y="967168"/>
                  </a:cubicBezTo>
                  <a:cubicBezTo>
                    <a:pt x="1503394" y="1319997"/>
                    <a:pt x="1198384" y="1579263"/>
                    <a:pt x="840269" y="1580003"/>
                  </a:cubicBezTo>
                  <a:close/>
                </a:path>
              </a:pathLst>
            </a:custGeom>
            <a:grpFill/>
            <a:ln w="13721" cap="flat">
              <a:noFill/>
              <a:prstDash val="solid"/>
              <a:miter/>
            </a:ln>
          </p:spPr>
          <p:txBody>
            <a:bodyPr rtlCol="0" anchor="ctr"/>
            <a:lstStyle/>
            <a:p>
              <a:endParaRPr lang="en-US"/>
            </a:p>
          </p:txBody>
        </p:sp>
        <p:sp>
          <p:nvSpPr>
            <p:cNvPr id="35" name="Freeform 22">
              <a:extLst>
                <a:ext uri="{FF2B5EF4-FFF2-40B4-BE49-F238E27FC236}">
                  <a16:creationId xmlns:a16="http://schemas.microsoft.com/office/drawing/2014/main" id="{25461D99-2C6F-4A54-95CC-E3B57296447F}"/>
                </a:ext>
              </a:extLst>
            </p:cNvPr>
            <p:cNvSpPr/>
            <p:nvPr/>
          </p:nvSpPr>
          <p:spPr>
            <a:xfrm>
              <a:off x="7354254" y="2064341"/>
              <a:ext cx="1678930" cy="1108105"/>
            </a:xfrm>
            <a:custGeom>
              <a:avLst/>
              <a:gdLst>
                <a:gd name="connsiteX0" fmla="*/ 85717 w 1678930"/>
                <a:gd name="connsiteY0" fmla="*/ 928546 h 1108105"/>
                <a:gd name="connsiteX1" fmla="*/ 839487 w 1678930"/>
                <a:gd name="connsiteY1" fmla="*/ 1108106 h 1108105"/>
                <a:gd name="connsiteX2" fmla="*/ 1593256 w 1678930"/>
                <a:gd name="connsiteY2" fmla="*/ 928546 h 1108105"/>
                <a:gd name="connsiteX3" fmla="*/ 1678931 w 1678930"/>
                <a:gd name="connsiteY3" fmla="*/ 783527 h 1108105"/>
                <a:gd name="connsiteX4" fmla="*/ 1678931 w 1678930"/>
                <a:gd name="connsiteY4" fmla="*/ 769820 h 1108105"/>
                <a:gd name="connsiteX5" fmla="*/ 768623 w 1678930"/>
                <a:gd name="connsiteY5" fmla="*/ 3052 h 1108105"/>
                <a:gd name="connsiteX6" fmla="*/ 592 w 1678930"/>
                <a:gd name="connsiteY6" fmla="*/ 769546 h 1108105"/>
                <a:gd name="connsiteX7" fmla="*/ 85717 w 1678930"/>
                <a:gd name="connsiteY7" fmla="*/ 928546 h 1108105"/>
                <a:gd name="connsiteX8" fmla="*/ 148874 w 1678930"/>
                <a:gd name="connsiteY8" fmla="*/ 603281 h 1108105"/>
                <a:gd name="connsiteX9" fmla="*/ 652760 w 1678930"/>
                <a:gd name="connsiteY9" fmla="*/ 739391 h 1108105"/>
                <a:gd name="connsiteX10" fmla="*/ 886559 w 1678930"/>
                <a:gd name="connsiteY10" fmla="*/ 877842 h 1108105"/>
                <a:gd name="connsiteX11" fmla="*/ 1025245 w 1678930"/>
                <a:gd name="connsiteY11" fmla="*/ 644435 h 1108105"/>
                <a:gd name="connsiteX12" fmla="*/ 791444 w 1678930"/>
                <a:gd name="connsiteY12" fmla="*/ 505983 h 1108105"/>
                <a:gd name="connsiteX13" fmla="*/ 657154 w 1678930"/>
                <a:gd name="connsiteY13" fmla="*/ 629736 h 1108105"/>
                <a:gd name="connsiteX14" fmla="*/ 193496 w 1678930"/>
                <a:gd name="connsiteY14" fmla="*/ 503084 h 1108105"/>
                <a:gd name="connsiteX15" fmla="*/ 839487 w 1678930"/>
                <a:gd name="connsiteY15" fmla="*/ 114357 h 1108105"/>
                <a:gd name="connsiteX16" fmla="*/ 1568543 w 1678930"/>
                <a:gd name="connsiteY16" fmla="*/ 779141 h 1108105"/>
                <a:gd name="connsiteX17" fmla="*/ 1539710 w 1678930"/>
                <a:gd name="connsiteY17" fmla="*/ 832597 h 1108105"/>
                <a:gd name="connsiteX18" fmla="*/ 839487 w 1678930"/>
                <a:gd name="connsiteY18" fmla="*/ 997080 h 1108105"/>
                <a:gd name="connsiteX19" fmla="*/ 139263 w 1678930"/>
                <a:gd name="connsiteY19" fmla="*/ 832597 h 1108105"/>
                <a:gd name="connsiteX20" fmla="*/ 110431 w 1678930"/>
                <a:gd name="connsiteY20" fmla="*/ 779141 h 1108105"/>
                <a:gd name="connsiteX21" fmla="*/ 148874 w 1678930"/>
                <a:gd name="connsiteY21" fmla="*/ 603281 h 1108105"/>
                <a:gd name="connsiteX22" fmla="*/ 758480 w 1678930"/>
                <a:gd name="connsiteY22" fmla="*/ 691417 h 1108105"/>
                <a:gd name="connsiteX23" fmla="*/ 839487 w 1678930"/>
                <a:gd name="connsiteY23" fmla="*/ 610546 h 1108105"/>
                <a:gd name="connsiteX24" fmla="*/ 920493 w 1678930"/>
                <a:gd name="connsiteY24" fmla="*/ 691417 h 1108105"/>
                <a:gd name="connsiteX25" fmla="*/ 839487 w 1678930"/>
                <a:gd name="connsiteY25" fmla="*/ 772287 h 1108105"/>
                <a:gd name="connsiteX26" fmla="*/ 758480 w 1678930"/>
                <a:gd name="connsiteY26" fmla="*/ 691417 h 110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78930" h="1108105">
                  <a:moveTo>
                    <a:pt x="85717" y="928546"/>
                  </a:moveTo>
                  <a:cubicBezTo>
                    <a:pt x="291665" y="1045054"/>
                    <a:pt x="559397" y="1108106"/>
                    <a:pt x="839487" y="1108106"/>
                  </a:cubicBezTo>
                  <a:cubicBezTo>
                    <a:pt x="1119576" y="1108106"/>
                    <a:pt x="1385935" y="1043683"/>
                    <a:pt x="1593256" y="928546"/>
                  </a:cubicBezTo>
                  <a:cubicBezTo>
                    <a:pt x="1646157" y="899412"/>
                    <a:pt x="1678986" y="843844"/>
                    <a:pt x="1678931" y="783527"/>
                  </a:cubicBezTo>
                  <a:cubicBezTo>
                    <a:pt x="1678931" y="778866"/>
                    <a:pt x="1678931" y="774206"/>
                    <a:pt x="1678931" y="769820"/>
                  </a:cubicBezTo>
                  <a:cubicBezTo>
                    <a:pt x="1639649" y="307129"/>
                    <a:pt x="1232089" y="-36165"/>
                    <a:pt x="768623" y="3052"/>
                  </a:cubicBezTo>
                  <a:cubicBezTo>
                    <a:pt x="359758" y="37648"/>
                    <a:pt x="35380" y="361378"/>
                    <a:pt x="592" y="769546"/>
                  </a:cubicBezTo>
                  <a:cubicBezTo>
                    <a:pt x="-4920" y="834666"/>
                    <a:pt x="28420" y="896939"/>
                    <a:pt x="85717" y="928546"/>
                  </a:cubicBezTo>
                  <a:close/>
                  <a:moveTo>
                    <a:pt x="148874" y="603281"/>
                  </a:moveTo>
                  <a:cubicBezTo>
                    <a:pt x="307777" y="677159"/>
                    <a:pt x="478224" y="723200"/>
                    <a:pt x="652760" y="739391"/>
                  </a:cubicBezTo>
                  <a:cubicBezTo>
                    <a:pt x="679026" y="842077"/>
                    <a:pt x="783701" y="904064"/>
                    <a:pt x="886559" y="877842"/>
                  </a:cubicBezTo>
                  <a:cubicBezTo>
                    <a:pt x="989418" y="851621"/>
                    <a:pt x="1051510" y="747121"/>
                    <a:pt x="1025245" y="644435"/>
                  </a:cubicBezTo>
                  <a:cubicBezTo>
                    <a:pt x="998980" y="541748"/>
                    <a:pt x="894303" y="479760"/>
                    <a:pt x="791444" y="505983"/>
                  </a:cubicBezTo>
                  <a:cubicBezTo>
                    <a:pt x="728644" y="521991"/>
                    <a:pt x="678155" y="568519"/>
                    <a:pt x="657154" y="629736"/>
                  </a:cubicBezTo>
                  <a:cubicBezTo>
                    <a:pt x="496469" y="614380"/>
                    <a:pt x="339629" y="571538"/>
                    <a:pt x="193496" y="503084"/>
                  </a:cubicBezTo>
                  <a:cubicBezTo>
                    <a:pt x="321203" y="265119"/>
                    <a:pt x="569073" y="115963"/>
                    <a:pt x="839487" y="114357"/>
                  </a:cubicBezTo>
                  <a:cubicBezTo>
                    <a:pt x="1217101" y="117051"/>
                    <a:pt x="1531733" y="403943"/>
                    <a:pt x="1568543" y="779141"/>
                  </a:cubicBezTo>
                  <a:cubicBezTo>
                    <a:pt x="1569984" y="801003"/>
                    <a:pt x="1558794" y="821769"/>
                    <a:pt x="1539710" y="832597"/>
                  </a:cubicBezTo>
                  <a:cubicBezTo>
                    <a:pt x="1348865" y="938140"/>
                    <a:pt x="1100354" y="997080"/>
                    <a:pt x="839487" y="997080"/>
                  </a:cubicBezTo>
                  <a:cubicBezTo>
                    <a:pt x="578619" y="997080"/>
                    <a:pt x="330109" y="939511"/>
                    <a:pt x="139263" y="832597"/>
                  </a:cubicBezTo>
                  <a:cubicBezTo>
                    <a:pt x="120184" y="821769"/>
                    <a:pt x="108984" y="801003"/>
                    <a:pt x="110431" y="779141"/>
                  </a:cubicBezTo>
                  <a:cubicBezTo>
                    <a:pt x="115761" y="719136"/>
                    <a:pt x="128679" y="660047"/>
                    <a:pt x="148874" y="603281"/>
                  </a:cubicBezTo>
                  <a:close/>
                  <a:moveTo>
                    <a:pt x="758480" y="691417"/>
                  </a:moveTo>
                  <a:cubicBezTo>
                    <a:pt x="758556" y="646784"/>
                    <a:pt x="794779" y="610621"/>
                    <a:pt x="839487" y="610546"/>
                  </a:cubicBezTo>
                  <a:cubicBezTo>
                    <a:pt x="884225" y="610546"/>
                    <a:pt x="920493" y="646753"/>
                    <a:pt x="920493" y="691417"/>
                  </a:cubicBezTo>
                  <a:cubicBezTo>
                    <a:pt x="920493" y="736080"/>
                    <a:pt x="884225" y="772287"/>
                    <a:pt x="839487" y="772287"/>
                  </a:cubicBezTo>
                  <a:cubicBezTo>
                    <a:pt x="794748" y="772287"/>
                    <a:pt x="758480" y="736080"/>
                    <a:pt x="758480" y="691417"/>
                  </a:cubicBezTo>
                  <a:close/>
                </a:path>
              </a:pathLst>
            </a:custGeom>
            <a:grpFill/>
            <a:ln w="13721" cap="flat">
              <a:noFill/>
              <a:prstDash val="solid"/>
              <a:miter/>
            </a:ln>
          </p:spPr>
          <p:txBody>
            <a:bodyPr rtlCol="0" anchor="ctr"/>
            <a:lstStyle/>
            <a:p>
              <a:endParaRPr lang="en-US"/>
            </a:p>
          </p:txBody>
        </p:sp>
      </p:grpSp>
      <p:sp>
        <p:nvSpPr>
          <p:cNvPr id="36" name="Text Placeholder 5">
            <a:extLst>
              <a:ext uri="{FF2B5EF4-FFF2-40B4-BE49-F238E27FC236}">
                <a16:creationId xmlns:a16="http://schemas.microsoft.com/office/drawing/2014/main" id="{F52A0D2A-3E4C-4DAC-8B55-5F61B708B0D3}"/>
              </a:ext>
            </a:extLst>
          </p:cNvPr>
          <p:cNvSpPr txBox="1">
            <a:spLocks/>
          </p:cNvSpPr>
          <p:nvPr/>
        </p:nvSpPr>
        <p:spPr>
          <a:xfrm>
            <a:off x="5591959" y="2933969"/>
            <a:ext cx="2286000" cy="738664"/>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2400" dirty="0"/>
              <a:t>General</a:t>
            </a:r>
          </a:p>
          <a:p>
            <a:pPr marL="0" indent="0" algn="ctr">
              <a:lnSpc>
                <a:spcPct val="100000"/>
              </a:lnSpc>
              <a:spcBef>
                <a:spcPts val="0"/>
              </a:spcBef>
              <a:buNone/>
            </a:pPr>
            <a:r>
              <a:rPr lang="en-US" sz="2400" dirty="0"/>
              <a:t>(By Application)</a:t>
            </a:r>
            <a:endParaRPr lang="en-GB" sz="2400" dirty="0"/>
          </a:p>
        </p:txBody>
      </p:sp>
      <p:grpSp>
        <p:nvGrpSpPr>
          <p:cNvPr id="37" name="Graphic 17">
            <a:extLst>
              <a:ext uri="{FF2B5EF4-FFF2-40B4-BE49-F238E27FC236}">
                <a16:creationId xmlns:a16="http://schemas.microsoft.com/office/drawing/2014/main" id="{064BC0AD-F9C1-491C-9C09-4FA04CB87A8F}"/>
              </a:ext>
            </a:extLst>
          </p:cNvPr>
          <p:cNvGrpSpPr/>
          <p:nvPr/>
        </p:nvGrpSpPr>
        <p:grpSpPr>
          <a:xfrm>
            <a:off x="8101355" y="2928706"/>
            <a:ext cx="469273" cy="761981"/>
            <a:chOff x="7352098" y="2064341"/>
            <a:chExt cx="1681909" cy="2731001"/>
          </a:xfrm>
          <a:solidFill>
            <a:schemeClr val="accent2"/>
          </a:solidFill>
        </p:grpSpPr>
        <p:sp>
          <p:nvSpPr>
            <p:cNvPr id="38" name="Freeform 20">
              <a:extLst>
                <a:ext uri="{FF2B5EF4-FFF2-40B4-BE49-F238E27FC236}">
                  <a16:creationId xmlns:a16="http://schemas.microsoft.com/office/drawing/2014/main" id="{2C65F71B-FCBF-41C3-86D1-E04B2F8922FA}"/>
                </a:ext>
              </a:extLst>
            </p:cNvPr>
            <p:cNvSpPr/>
            <p:nvPr/>
          </p:nvSpPr>
          <p:spPr>
            <a:xfrm>
              <a:off x="8508154" y="2729715"/>
              <a:ext cx="164758" cy="164482"/>
            </a:xfrm>
            <a:custGeom>
              <a:avLst/>
              <a:gdLst>
                <a:gd name="connsiteX0" fmla="*/ 164758 w 164758"/>
                <a:gd name="connsiteY0" fmla="*/ 82241 h 164482"/>
                <a:gd name="connsiteX1" fmla="*/ 82379 w 164758"/>
                <a:gd name="connsiteY1" fmla="*/ 164483 h 164482"/>
                <a:gd name="connsiteX2" fmla="*/ 0 w 164758"/>
                <a:gd name="connsiteY2" fmla="*/ 82241 h 164482"/>
                <a:gd name="connsiteX3" fmla="*/ 82379 w 164758"/>
                <a:gd name="connsiteY3" fmla="*/ 0 h 164482"/>
                <a:gd name="connsiteX4" fmla="*/ 164758 w 164758"/>
                <a:gd name="connsiteY4" fmla="*/ 82241 h 16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758" h="164482">
                  <a:moveTo>
                    <a:pt x="164758" y="82241"/>
                  </a:moveTo>
                  <a:cubicBezTo>
                    <a:pt x="164758" y="127662"/>
                    <a:pt x="127876" y="164483"/>
                    <a:pt x="82379" y="164483"/>
                  </a:cubicBezTo>
                  <a:cubicBezTo>
                    <a:pt x="36882" y="164483"/>
                    <a:pt x="0" y="127662"/>
                    <a:pt x="0" y="82241"/>
                  </a:cubicBezTo>
                  <a:cubicBezTo>
                    <a:pt x="0" y="36821"/>
                    <a:pt x="36882" y="0"/>
                    <a:pt x="82379" y="0"/>
                  </a:cubicBezTo>
                  <a:cubicBezTo>
                    <a:pt x="127876" y="0"/>
                    <a:pt x="164758" y="36821"/>
                    <a:pt x="164758" y="82241"/>
                  </a:cubicBezTo>
                  <a:close/>
                </a:path>
              </a:pathLst>
            </a:custGeom>
            <a:grpFill/>
            <a:ln w="13721" cap="flat">
              <a:noFill/>
              <a:prstDash val="solid"/>
              <a:miter/>
            </a:ln>
          </p:spPr>
          <p:txBody>
            <a:bodyPr rtlCol="0" anchor="ctr"/>
            <a:lstStyle/>
            <a:p>
              <a:endParaRPr lang="en-US"/>
            </a:p>
          </p:txBody>
        </p:sp>
        <p:sp>
          <p:nvSpPr>
            <p:cNvPr id="39" name="Freeform 21">
              <a:extLst>
                <a:ext uri="{FF2B5EF4-FFF2-40B4-BE49-F238E27FC236}">
                  <a16:creationId xmlns:a16="http://schemas.microsoft.com/office/drawing/2014/main" id="{47003792-9C41-4743-A2E7-3DE2BDA0255D}"/>
                </a:ext>
              </a:extLst>
            </p:cNvPr>
            <p:cNvSpPr/>
            <p:nvPr/>
          </p:nvSpPr>
          <p:spPr>
            <a:xfrm>
              <a:off x="7352098" y="3105684"/>
              <a:ext cx="1681909" cy="1689658"/>
            </a:xfrm>
            <a:custGeom>
              <a:avLst/>
              <a:gdLst>
                <a:gd name="connsiteX0" fmla="*/ 1653077 w 1681909"/>
                <a:gd name="connsiteY0" fmla="*/ 7824 h 1689658"/>
                <a:gd name="connsiteX1" fmla="*/ 1596785 w 1681909"/>
                <a:gd name="connsiteY1" fmla="*/ 9194 h 1689658"/>
                <a:gd name="connsiteX2" fmla="*/ 840269 w 1681909"/>
                <a:gd name="connsiteY2" fmla="*/ 206573 h 1689658"/>
                <a:gd name="connsiteX3" fmla="*/ 85127 w 1681909"/>
                <a:gd name="connsiteY3" fmla="*/ 9194 h 1689658"/>
                <a:gd name="connsiteX4" fmla="*/ 28834 w 1681909"/>
                <a:gd name="connsiteY4" fmla="*/ 6453 h 1689658"/>
                <a:gd name="connsiteX5" fmla="*/ 1 w 1681909"/>
                <a:gd name="connsiteY5" fmla="*/ 54427 h 1689658"/>
                <a:gd name="connsiteX6" fmla="*/ 1 w 1681909"/>
                <a:gd name="connsiteY6" fmla="*/ 849426 h 1689658"/>
                <a:gd name="connsiteX7" fmla="*/ 840269 w 1681909"/>
                <a:gd name="connsiteY7" fmla="*/ 1689658 h 1689658"/>
                <a:gd name="connsiteX8" fmla="*/ 1681910 w 1681909"/>
                <a:gd name="connsiteY8" fmla="*/ 850797 h 1689658"/>
                <a:gd name="connsiteX9" fmla="*/ 1681910 w 1681909"/>
                <a:gd name="connsiteY9" fmla="*/ 55798 h 1689658"/>
                <a:gd name="connsiteX10" fmla="*/ 1653077 w 1681909"/>
                <a:gd name="connsiteY10" fmla="*/ 7824 h 1689658"/>
                <a:gd name="connsiteX11" fmla="*/ 109840 w 1681909"/>
                <a:gd name="connsiteY11" fmla="*/ 712631 h 1689658"/>
                <a:gd name="connsiteX12" fmla="*/ 841642 w 1681909"/>
                <a:gd name="connsiteY12" fmla="*/ 878211 h 1689658"/>
                <a:gd name="connsiteX13" fmla="*/ 1570698 w 1681909"/>
                <a:gd name="connsiteY13" fmla="*/ 713728 h 1689658"/>
                <a:gd name="connsiteX14" fmla="*/ 1570698 w 1681909"/>
                <a:gd name="connsiteY14" fmla="*/ 834897 h 1689658"/>
                <a:gd name="connsiteX15" fmla="*/ 841642 w 1681909"/>
                <a:gd name="connsiteY15" fmla="*/ 1015279 h 1689658"/>
                <a:gd name="connsiteX16" fmla="*/ 109840 w 1681909"/>
                <a:gd name="connsiteY16" fmla="*/ 833252 h 1689658"/>
                <a:gd name="connsiteX17" fmla="*/ 840269 w 1681909"/>
                <a:gd name="connsiteY17" fmla="*/ 317599 h 1689658"/>
                <a:gd name="connsiteX18" fmla="*/ 1570698 w 1681909"/>
                <a:gd name="connsiteY18" fmla="*/ 151746 h 1689658"/>
                <a:gd name="connsiteX19" fmla="*/ 1570698 w 1681909"/>
                <a:gd name="connsiteY19" fmla="*/ 586528 h 1689658"/>
                <a:gd name="connsiteX20" fmla="*/ 841642 w 1681909"/>
                <a:gd name="connsiteY20" fmla="*/ 767185 h 1689658"/>
                <a:gd name="connsiteX21" fmla="*/ 109840 w 1681909"/>
                <a:gd name="connsiteY21" fmla="*/ 584746 h 1689658"/>
                <a:gd name="connsiteX22" fmla="*/ 109840 w 1681909"/>
                <a:gd name="connsiteY22" fmla="*/ 151746 h 1689658"/>
                <a:gd name="connsiteX23" fmla="*/ 840269 w 1681909"/>
                <a:gd name="connsiteY23" fmla="*/ 317599 h 1689658"/>
                <a:gd name="connsiteX24" fmla="*/ 840269 w 1681909"/>
                <a:gd name="connsiteY24" fmla="*/ 1580003 h 1689658"/>
                <a:gd name="connsiteX25" fmla="*/ 118902 w 1681909"/>
                <a:gd name="connsiteY25" fmla="*/ 965249 h 1689658"/>
                <a:gd name="connsiteX26" fmla="*/ 841642 w 1681909"/>
                <a:gd name="connsiteY26" fmla="*/ 1126305 h 1689658"/>
                <a:gd name="connsiteX27" fmla="*/ 1561224 w 1681909"/>
                <a:gd name="connsiteY27" fmla="*/ 967168 h 1689658"/>
                <a:gd name="connsiteX28" fmla="*/ 840269 w 1681909"/>
                <a:gd name="connsiteY28" fmla="*/ 1580003 h 168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81909" h="1689658">
                  <a:moveTo>
                    <a:pt x="1653077" y="7824"/>
                  </a:moveTo>
                  <a:cubicBezTo>
                    <a:pt x="1635489" y="-2088"/>
                    <a:pt x="1613865" y="-1561"/>
                    <a:pt x="1596785" y="9194"/>
                  </a:cubicBezTo>
                  <a:cubicBezTo>
                    <a:pt x="1401821" y="132556"/>
                    <a:pt x="1118985" y="206573"/>
                    <a:pt x="840269" y="206573"/>
                  </a:cubicBezTo>
                  <a:cubicBezTo>
                    <a:pt x="551942" y="206573"/>
                    <a:pt x="277345" y="133927"/>
                    <a:pt x="85127" y="9194"/>
                  </a:cubicBezTo>
                  <a:cubicBezTo>
                    <a:pt x="68298" y="-1995"/>
                    <a:pt x="46673" y="-3047"/>
                    <a:pt x="28834" y="6453"/>
                  </a:cubicBezTo>
                  <a:cubicBezTo>
                    <a:pt x="10984" y="15794"/>
                    <a:pt x="-143" y="34308"/>
                    <a:pt x="1" y="54427"/>
                  </a:cubicBezTo>
                  <a:lnTo>
                    <a:pt x="1" y="849426"/>
                  </a:lnTo>
                  <a:cubicBezTo>
                    <a:pt x="-378" y="1313089"/>
                    <a:pt x="375824" y="1689274"/>
                    <a:pt x="840269" y="1689658"/>
                  </a:cubicBezTo>
                  <a:cubicBezTo>
                    <a:pt x="1304715" y="1690042"/>
                    <a:pt x="1681525" y="1314459"/>
                    <a:pt x="1681910" y="850797"/>
                  </a:cubicBezTo>
                  <a:lnTo>
                    <a:pt x="1681910" y="55798"/>
                  </a:lnTo>
                  <a:cubicBezTo>
                    <a:pt x="1681814" y="35746"/>
                    <a:pt x="1670747" y="17349"/>
                    <a:pt x="1653077" y="7824"/>
                  </a:cubicBezTo>
                  <a:close/>
                  <a:moveTo>
                    <a:pt x="109840" y="712631"/>
                  </a:moveTo>
                  <a:cubicBezTo>
                    <a:pt x="310571" y="818449"/>
                    <a:pt x="571438" y="878211"/>
                    <a:pt x="841642" y="878211"/>
                  </a:cubicBezTo>
                  <a:cubicBezTo>
                    <a:pt x="1109649" y="878211"/>
                    <a:pt x="1369281" y="818860"/>
                    <a:pt x="1570698" y="713728"/>
                  </a:cubicBezTo>
                  <a:lnTo>
                    <a:pt x="1570698" y="834897"/>
                  </a:lnTo>
                  <a:cubicBezTo>
                    <a:pt x="1379990" y="949349"/>
                    <a:pt x="1117612" y="1015279"/>
                    <a:pt x="841642" y="1015279"/>
                  </a:cubicBezTo>
                  <a:cubicBezTo>
                    <a:pt x="565672" y="1015279"/>
                    <a:pt x="300685" y="949486"/>
                    <a:pt x="109840" y="833252"/>
                  </a:cubicBezTo>
                  <a:close/>
                  <a:moveTo>
                    <a:pt x="840269" y="317599"/>
                  </a:moveTo>
                  <a:cubicBezTo>
                    <a:pt x="1105256" y="317599"/>
                    <a:pt x="1366123" y="257289"/>
                    <a:pt x="1570698" y="151746"/>
                  </a:cubicBezTo>
                  <a:lnTo>
                    <a:pt x="1570698" y="586528"/>
                  </a:lnTo>
                  <a:cubicBezTo>
                    <a:pt x="1381089" y="701666"/>
                    <a:pt x="1116514" y="767185"/>
                    <a:pt x="841642" y="767185"/>
                  </a:cubicBezTo>
                  <a:cubicBezTo>
                    <a:pt x="566770" y="767185"/>
                    <a:pt x="300685" y="700981"/>
                    <a:pt x="109840" y="584746"/>
                  </a:cubicBezTo>
                  <a:lnTo>
                    <a:pt x="109840" y="151746"/>
                  </a:lnTo>
                  <a:cubicBezTo>
                    <a:pt x="311669" y="257289"/>
                    <a:pt x="572537" y="316228"/>
                    <a:pt x="840269" y="317599"/>
                  </a:cubicBezTo>
                  <a:close/>
                  <a:moveTo>
                    <a:pt x="840269" y="1580003"/>
                  </a:moveTo>
                  <a:cubicBezTo>
                    <a:pt x="481423" y="1579194"/>
                    <a:pt x="176018" y="1318928"/>
                    <a:pt x="118902" y="965249"/>
                  </a:cubicBezTo>
                  <a:cubicBezTo>
                    <a:pt x="319358" y="1067914"/>
                    <a:pt x="575832" y="1126305"/>
                    <a:pt x="841642" y="1126305"/>
                  </a:cubicBezTo>
                  <a:cubicBezTo>
                    <a:pt x="1104981" y="1126305"/>
                    <a:pt x="1361043" y="1069422"/>
                    <a:pt x="1561224" y="967168"/>
                  </a:cubicBezTo>
                  <a:cubicBezTo>
                    <a:pt x="1503394" y="1319997"/>
                    <a:pt x="1198384" y="1579263"/>
                    <a:pt x="840269" y="1580003"/>
                  </a:cubicBezTo>
                  <a:close/>
                </a:path>
              </a:pathLst>
            </a:custGeom>
            <a:grpFill/>
            <a:ln w="13721" cap="flat">
              <a:noFill/>
              <a:prstDash val="solid"/>
              <a:miter/>
            </a:ln>
          </p:spPr>
          <p:txBody>
            <a:bodyPr rtlCol="0" anchor="ctr"/>
            <a:lstStyle/>
            <a:p>
              <a:endParaRPr lang="en-US"/>
            </a:p>
          </p:txBody>
        </p:sp>
        <p:sp>
          <p:nvSpPr>
            <p:cNvPr id="40" name="Freeform 22">
              <a:extLst>
                <a:ext uri="{FF2B5EF4-FFF2-40B4-BE49-F238E27FC236}">
                  <a16:creationId xmlns:a16="http://schemas.microsoft.com/office/drawing/2014/main" id="{5B3B0FC2-9C0C-44DE-B39F-55A9061AC34C}"/>
                </a:ext>
              </a:extLst>
            </p:cNvPr>
            <p:cNvSpPr/>
            <p:nvPr/>
          </p:nvSpPr>
          <p:spPr>
            <a:xfrm>
              <a:off x="7354254" y="2064341"/>
              <a:ext cx="1678930" cy="1108105"/>
            </a:xfrm>
            <a:custGeom>
              <a:avLst/>
              <a:gdLst>
                <a:gd name="connsiteX0" fmla="*/ 85717 w 1678930"/>
                <a:gd name="connsiteY0" fmla="*/ 928546 h 1108105"/>
                <a:gd name="connsiteX1" fmla="*/ 839487 w 1678930"/>
                <a:gd name="connsiteY1" fmla="*/ 1108106 h 1108105"/>
                <a:gd name="connsiteX2" fmla="*/ 1593256 w 1678930"/>
                <a:gd name="connsiteY2" fmla="*/ 928546 h 1108105"/>
                <a:gd name="connsiteX3" fmla="*/ 1678931 w 1678930"/>
                <a:gd name="connsiteY3" fmla="*/ 783527 h 1108105"/>
                <a:gd name="connsiteX4" fmla="*/ 1678931 w 1678930"/>
                <a:gd name="connsiteY4" fmla="*/ 769820 h 1108105"/>
                <a:gd name="connsiteX5" fmla="*/ 768623 w 1678930"/>
                <a:gd name="connsiteY5" fmla="*/ 3052 h 1108105"/>
                <a:gd name="connsiteX6" fmla="*/ 592 w 1678930"/>
                <a:gd name="connsiteY6" fmla="*/ 769546 h 1108105"/>
                <a:gd name="connsiteX7" fmla="*/ 85717 w 1678930"/>
                <a:gd name="connsiteY7" fmla="*/ 928546 h 1108105"/>
                <a:gd name="connsiteX8" fmla="*/ 148874 w 1678930"/>
                <a:gd name="connsiteY8" fmla="*/ 603281 h 1108105"/>
                <a:gd name="connsiteX9" fmla="*/ 652760 w 1678930"/>
                <a:gd name="connsiteY9" fmla="*/ 739391 h 1108105"/>
                <a:gd name="connsiteX10" fmla="*/ 886559 w 1678930"/>
                <a:gd name="connsiteY10" fmla="*/ 877842 h 1108105"/>
                <a:gd name="connsiteX11" fmla="*/ 1025245 w 1678930"/>
                <a:gd name="connsiteY11" fmla="*/ 644435 h 1108105"/>
                <a:gd name="connsiteX12" fmla="*/ 791444 w 1678930"/>
                <a:gd name="connsiteY12" fmla="*/ 505983 h 1108105"/>
                <a:gd name="connsiteX13" fmla="*/ 657154 w 1678930"/>
                <a:gd name="connsiteY13" fmla="*/ 629736 h 1108105"/>
                <a:gd name="connsiteX14" fmla="*/ 193496 w 1678930"/>
                <a:gd name="connsiteY14" fmla="*/ 503084 h 1108105"/>
                <a:gd name="connsiteX15" fmla="*/ 839487 w 1678930"/>
                <a:gd name="connsiteY15" fmla="*/ 114357 h 1108105"/>
                <a:gd name="connsiteX16" fmla="*/ 1568543 w 1678930"/>
                <a:gd name="connsiteY16" fmla="*/ 779141 h 1108105"/>
                <a:gd name="connsiteX17" fmla="*/ 1539710 w 1678930"/>
                <a:gd name="connsiteY17" fmla="*/ 832597 h 1108105"/>
                <a:gd name="connsiteX18" fmla="*/ 839487 w 1678930"/>
                <a:gd name="connsiteY18" fmla="*/ 997080 h 1108105"/>
                <a:gd name="connsiteX19" fmla="*/ 139263 w 1678930"/>
                <a:gd name="connsiteY19" fmla="*/ 832597 h 1108105"/>
                <a:gd name="connsiteX20" fmla="*/ 110431 w 1678930"/>
                <a:gd name="connsiteY20" fmla="*/ 779141 h 1108105"/>
                <a:gd name="connsiteX21" fmla="*/ 148874 w 1678930"/>
                <a:gd name="connsiteY21" fmla="*/ 603281 h 1108105"/>
                <a:gd name="connsiteX22" fmla="*/ 758480 w 1678930"/>
                <a:gd name="connsiteY22" fmla="*/ 691417 h 1108105"/>
                <a:gd name="connsiteX23" fmla="*/ 839487 w 1678930"/>
                <a:gd name="connsiteY23" fmla="*/ 610546 h 1108105"/>
                <a:gd name="connsiteX24" fmla="*/ 920493 w 1678930"/>
                <a:gd name="connsiteY24" fmla="*/ 691417 h 1108105"/>
                <a:gd name="connsiteX25" fmla="*/ 839487 w 1678930"/>
                <a:gd name="connsiteY25" fmla="*/ 772287 h 1108105"/>
                <a:gd name="connsiteX26" fmla="*/ 758480 w 1678930"/>
                <a:gd name="connsiteY26" fmla="*/ 691417 h 110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78930" h="1108105">
                  <a:moveTo>
                    <a:pt x="85717" y="928546"/>
                  </a:moveTo>
                  <a:cubicBezTo>
                    <a:pt x="291665" y="1045054"/>
                    <a:pt x="559397" y="1108106"/>
                    <a:pt x="839487" y="1108106"/>
                  </a:cubicBezTo>
                  <a:cubicBezTo>
                    <a:pt x="1119576" y="1108106"/>
                    <a:pt x="1385935" y="1043683"/>
                    <a:pt x="1593256" y="928546"/>
                  </a:cubicBezTo>
                  <a:cubicBezTo>
                    <a:pt x="1646157" y="899412"/>
                    <a:pt x="1678986" y="843844"/>
                    <a:pt x="1678931" y="783527"/>
                  </a:cubicBezTo>
                  <a:cubicBezTo>
                    <a:pt x="1678931" y="778866"/>
                    <a:pt x="1678931" y="774206"/>
                    <a:pt x="1678931" y="769820"/>
                  </a:cubicBezTo>
                  <a:cubicBezTo>
                    <a:pt x="1639649" y="307129"/>
                    <a:pt x="1232089" y="-36165"/>
                    <a:pt x="768623" y="3052"/>
                  </a:cubicBezTo>
                  <a:cubicBezTo>
                    <a:pt x="359758" y="37648"/>
                    <a:pt x="35380" y="361378"/>
                    <a:pt x="592" y="769546"/>
                  </a:cubicBezTo>
                  <a:cubicBezTo>
                    <a:pt x="-4920" y="834666"/>
                    <a:pt x="28420" y="896939"/>
                    <a:pt x="85717" y="928546"/>
                  </a:cubicBezTo>
                  <a:close/>
                  <a:moveTo>
                    <a:pt x="148874" y="603281"/>
                  </a:moveTo>
                  <a:cubicBezTo>
                    <a:pt x="307777" y="677159"/>
                    <a:pt x="478224" y="723200"/>
                    <a:pt x="652760" y="739391"/>
                  </a:cubicBezTo>
                  <a:cubicBezTo>
                    <a:pt x="679026" y="842077"/>
                    <a:pt x="783701" y="904064"/>
                    <a:pt x="886559" y="877842"/>
                  </a:cubicBezTo>
                  <a:cubicBezTo>
                    <a:pt x="989418" y="851621"/>
                    <a:pt x="1051510" y="747121"/>
                    <a:pt x="1025245" y="644435"/>
                  </a:cubicBezTo>
                  <a:cubicBezTo>
                    <a:pt x="998980" y="541748"/>
                    <a:pt x="894303" y="479760"/>
                    <a:pt x="791444" y="505983"/>
                  </a:cubicBezTo>
                  <a:cubicBezTo>
                    <a:pt x="728644" y="521991"/>
                    <a:pt x="678155" y="568519"/>
                    <a:pt x="657154" y="629736"/>
                  </a:cubicBezTo>
                  <a:cubicBezTo>
                    <a:pt x="496469" y="614380"/>
                    <a:pt x="339629" y="571538"/>
                    <a:pt x="193496" y="503084"/>
                  </a:cubicBezTo>
                  <a:cubicBezTo>
                    <a:pt x="321203" y="265119"/>
                    <a:pt x="569073" y="115963"/>
                    <a:pt x="839487" y="114357"/>
                  </a:cubicBezTo>
                  <a:cubicBezTo>
                    <a:pt x="1217101" y="117051"/>
                    <a:pt x="1531733" y="403943"/>
                    <a:pt x="1568543" y="779141"/>
                  </a:cubicBezTo>
                  <a:cubicBezTo>
                    <a:pt x="1569984" y="801003"/>
                    <a:pt x="1558794" y="821769"/>
                    <a:pt x="1539710" y="832597"/>
                  </a:cubicBezTo>
                  <a:cubicBezTo>
                    <a:pt x="1348865" y="938140"/>
                    <a:pt x="1100354" y="997080"/>
                    <a:pt x="839487" y="997080"/>
                  </a:cubicBezTo>
                  <a:cubicBezTo>
                    <a:pt x="578619" y="997080"/>
                    <a:pt x="330109" y="939511"/>
                    <a:pt x="139263" y="832597"/>
                  </a:cubicBezTo>
                  <a:cubicBezTo>
                    <a:pt x="120184" y="821769"/>
                    <a:pt x="108984" y="801003"/>
                    <a:pt x="110431" y="779141"/>
                  </a:cubicBezTo>
                  <a:cubicBezTo>
                    <a:pt x="115761" y="719136"/>
                    <a:pt x="128679" y="660047"/>
                    <a:pt x="148874" y="603281"/>
                  </a:cubicBezTo>
                  <a:close/>
                  <a:moveTo>
                    <a:pt x="758480" y="691417"/>
                  </a:moveTo>
                  <a:cubicBezTo>
                    <a:pt x="758556" y="646784"/>
                    <a:pt x="794779" y="610621"/>
                    <a:pt x="839487" y="610546"/>
                  </a:cubicBezTo>
                  <a:cubicBezTo>
                    <a:pt x="884225" y="610546"/>
                    <a:pt x="920493" y="646753"/>
                    <a:pt x="920493" y="691417"/>
                  </a:cubicBezTo>
                  <a:cubicBezTo>
                    <a:pt x="920493" y="736080"/>
                    <a:pt x="884225" y="772287"/>
                    <a:pt x="839487" y="772287"/>
                  </a:cubicBezTo>
                  <a:cubicBezTo>
                    <a:pt x="794748" y="772287"/>
                    <a:pt x="758480" y="736080"/>
                    <a:pt x="758480" y="691417"/>
                  </a:cubicBezTo>
                  <a:close/>
                </a:path>
              </a:pathLst>
            </a:custGeom>
            <a:grpFill/>
            <a:ln w="13721" cap="flat">
              <a:noFill/>
              <a:prstDash val="solid"/>
              <a:miter/>
            </a:ln>
          </p:spPr>
          <p:txBody>
            <a:bodyPr rtlCol="0" anchor="ctr"/>
            <a:lstStyle/>
            <a:p>
              <a:endParaRPr lang="en-US"/>
            </a:p>
          </p:txBody>
        </p:sp>
      </p:grpSp>
      <p:sp>
        <p:nvSpPr>
          <p:cNvPr id="41" name="Text Placeholder 5">
            <a:extLst>
              <a:ext uri="{FF2B5EF4-FFF2-40B4-BE49-F238E27FC236}">
                <a16:creationId xmlns:a16="http://schemas.microsoft.com/office/drawing/2014/main" id="{F81763A7-151D-4990-9B69-DF3959BDEF3F}"/>
              </a:ext>
            </a:extLst>
          </p:cNvPr>
          <p:cNvSpPr txBox="1">
            <a:spLocks/>
          </p:cNvSpPr>
          <p:nvPr/>
        </p:nvSpPr>
        <p:spPr>
          <a:xfrm>
            <a:off x="8383499" y="2952023"/>
            <a:ext cx="2286000" cy="738664"/>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2400" dirty="0"/>
              <a:t>Contributor</a:t>
            </a:r>
          </a:p>
          <a:p>
            <a:pPr marL="0" indent="0" algn="ctr">
              <a:lnSpc>
                <a:spcPct val="100000"/>
              </a:lnSpc>
              <a:spcBef>
                <a:spcPts val="0"/>
              </a:spcBef>
              <a:buNone/>
            </a:pPr>
            <a:r>
              <a:rPr lang="en-US" sz="2400" dirty="0"/>
              <a:t>(Open to all)</a:t>
            </a:r>
          </a:p>
        </p:txBody>
      </p:sp>
    </p:spTree>
    <p:extLst>
      <p:ext uri="{BB962C8B-B14F-4D97-AF65-F5344CB8AC3E}">
        <p14:creationId xmlns:p14="http://schemas.microsoft.com/office/powerpoint/2010/main" val="27334570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F171C-C6D2-4C55-929D-88B97BC6E311}"/>
              </a:ext>
            </a:extLst>
          </p:cNvPr>
          <p:cNvSpPr>
            <a:spLocks noGrp="1"/>
          </p:cNvSpPr>
          <p:nvPr>
            <p:ph type="title"/>
          </p:nvPr>
        </p:nvSpPr>
        <p:spPr/>
        <p:txBody>
          <a:bodyPr/>
          <a:lstStyle/>
          <a:p>
            <a:r>
              <a:rPr lang="en-US" dirty="0"/>
              <a:t>Membership Level Rights</a:t>
            </a:r>
          </a:p>
        </p:txBody>
      </p:sp>
      <p:graphicFrame>
        <p:nvGraphicFramePr>
          <p:cNvPr id="6" name="Content Placeholder 6">
            <a:extLst>
              <a:ext uri="{FF2B5EF4-FFF2-40B4-BE49-F238E27FC236}">
                <a16:creationId xmlns:a16="http://schemas.microsoft.com/office/drawing/2014/main" id="{00DF6EAE-A4F1-48DC-8A9F-831CA732BD52}"/>
              </a:ext>
            </a:extLst>
          </p:cNvPr>
          <p:cNvGraphicFramePr>
            <a:graphicFrameLocks noGrp="1"/>
          </p:cNvGraphicFramePr>
          <p:nvPr>
            <p:ph idx="1"/>
            <p:extLst>
              <p:ext uri="{D42A27DB-BD31-4B8C-83A1-F6EECF244321}">
                <p14:modId xmlns:p14="http://schemas.microsoft.com/office/powerpoint/2010/main" val="4054814627"/>
              </p:ext>
            </p:extLst>
          </p:nvPr>
        </p:nvGraphicFramePr>
        <p:xfrm>
          <a:off x="753979" y="1323474"/>
          <a:ext cx="10515600" cy="4892040"/>
        </p:xfrm>
        <a:graphic>
          <a:graphicData uri="http://schemas.openxmlformats.org/drawingml/2006/table">
            <a:tbl>
              <a:tblPr firstRow="1" bandRow="1">
                <a:tableStyleId>{5C22544A-7EE6-4342-B048-85BDC9FD1C3A}</a:tableStyleId>
              </a:tblPr>
              <a:tblGrid>
                <a:gridCol w="6477000">
                  <a:extLst>
                    <a:ext uri="{9D8B030D-6E8A-4147-A177-3AD203B41FA5}">
                      <a16:colId xmlns:a16="http://schemas.microsoft.com/office/drawing/2014/main" val="4047828787"/>
                    </a:ext>
                  </a:extLst>
                </a:gridCol>
                <a:gridCol w="1346200">
                  <a:extLst>
                    <a:ext uri="{9D8B030D-6E8A-4147-A177-3AD203B41FA5}">
                      <a16:colId xmlns:a16="http://schemas.microsoft.com/office/drawing/2014/main" val="1557333458"/>
                    </a:ext>
                  </a:extLst>
                </a:gridCol>
                <a:gridCol w="1232865">
                  <a:extLst>
                    <a:ext uri="{9D8B030D-6E8A-4147-A177-3AD203B41FA5}">
                      <a16:colId xmlns:a16="http://schemas.microsoft.com/office/drawing/2014/main" val="711721254"/>
                    </a:ext>
                  </a:extLst>
                </a:gridCol>
                <a:gridCol w="1459535">
                  <a:extLst>
                    <a:ext uri="{9D8B030D-6E8A-4147-A177-3AD203B41FA5}">
                      <a16:colId xmlns:a16="http://schemas.microsoft.com/office/drawing/2014/main" val="487181629"/>
                    </a:ext>
                  </a:extLst>
                </a:gridCol>
              </a:tblGrid>
              <a:tr h="370840">
                <a:tc>
                  <a:txBody>
                    <a:bodyPr/>
                    <a:lstStyle/>
                    <a:p>
                      <a:endParaRPr lang="en-US" dirty="0"/>
                    </a:p>
                  </a:txBody>
                  <a:tcPr/>
                </a:tc>
                <a:tc>
                  <a:txBody>
                    <a:bodyPr/>
                    <a:lstStyle/>
                    <a:p>
                      <a:pPr algn="ctr"/>
                      <a:r>
                        <a:rPr lang="en-US" dirty="0"/>
                        <a:t>Steering</a:t>
                      </a:r>
                    </a:p>
                  </a:txBody>
                  <a:tcPr/>
                </a:tc>
                <a:tc>
                  <a:txBody>
                    <a:bodyPr/>
                    <a:lstStyle/>
                    <a:p>
                      <a:pPr algn="ctr"/>
                      <a:r>
                        <a:rPr lang="en-US" dirty="0"/>
                        <a:t>General</a:t>
                      </a:r>
                    </a:p>
                  </a:txBody>
                  <a:tcPr/>
                </a:tc>
                <a:tc>
                  <a:txBody>
                    <a:bodyPr/>
                    <a:lstStyle/>
                    <a:p>
                      <a:pPr algn="ctr"/>
                      <a:r>
                        <a:rPr lang="en-US" dirty="0"/>
                        <a:t>Contributor</a:t>
                      </a:r>
                    </a:p>
                  </a:txBody>
                  <a:tcPr/>
                </a:tc>
                <a:extLst>
                  <a:ext uri="{0D108BD9-81ED-4DB2-BD59-A6C34878D82A}">
                    <a16:rowId xmlns:a16="http://schemas.microsoft.com/office/drawing/2014/main" val="2331775153"/>
                  </a:ext>
                </a:extLst>
              </a:tr>
              <a:tr h="370840">
                <a:tc>
                  <a:txBody>
                    <a:bodyPr/>
                    <a:lstStyle/>
                    <a:p>
                      <a:r>
                        <a:rPr lang="en-US" dirty="0"/>
                        <a:t>Manage the business, legal, and financial affairs of the Project</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2351138514"/>
                  </a:ext>
                </a:extLst>
              </a:tr>
              <a:tr h="370840">
                <a:tc>
                  <a:txBody>
                    <a:bodyPr/>
                    <a:lstStyle/>
                    <a:p>
                      <a:r>
                        <a:rPr lang="en-US" dirty="0"/>
                        <a:t>Approve the specifications for public publications</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984581802"/>
                  </a:ext>
                </a:extLst>
              </a:tr>
              <a:tr h="370840">
                <a:tc>
                  <a:txBody>
                    <a:bodyPr/>
                    <a:lstStyle/>
                    <a:p>
                      <a:r>
                        <a:rPr lang="en-US" dirty="0"/>
                        <a:t>Approve new Working Groups </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3297804659"/>
                  </a:ext>
                </a:extLst>
              </a:tr>
              <a:tr h="370840">
                <a:tc>
                  <a:txBody>
                    <a:bodyPr/>
                    <a:lstStyle/>
                    <a:p>
                      <a:r>
                        <a:rPr lang="en-US" dirty="0"/>
                        <a:t>Chair the WG</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3227198706"/>
                  </a:ext>
                </a:extLst>
              </a:tr>
              <a:tr h="370840">
                <a:tc>
                  <a:txBody>
                    <a:bodyPr/>
                    <a:lstStyle/>
                    <a:p>
                      <a:r>
                        <a:rPr lang="en-US" dirty="0"/>
                        <a:t>Propose new work items in a WG</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466719807"/>
                  </a:ext>
                </a:extLst>
              </a:tr>
              <a:tr h="370840">
                <a:tc>
                  <a:txBody>
                    <a:bodyPr/>
                    <a:lstStyle/>
                    <a:p>
                      <a:r>
                        <a:rPr lang="en-US" dirty="0"/>
                        <a:t>Vote to adopt new work items in a WG</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981480787"/>
                  </a:ext>
                </a:extLst>
              </a:tr>
              <a:tr h="370840">
                <a:tc>
                  <a:txBody>
                    <a:bodyPr/>
                    <a:lstStyle/>
                    <a:p>
                      <a:r>
                        <a:rPr lang="en-US" dirty="0"/>
                        <a:t>Propose technical contributions to a Specification</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720698879"/>
                  </a:ext>
                </a:extLst>
              </a:tr>
              <a:tr h="370840">
                <a:tc>
                  <a:txBody>
                    <a:bodyPr/>
                    <a:lstStyle/>
                    <a:p>
                      <a:r>
                        <a:rPr lang="en-US" dirty="0"/>
                        <a:t>Vote on technical contributions </a:t>
                      </a:r>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3020095009"/>
                  </a:ext>
                </a:extLst>
              </a:tr>
              <a:tr h="370840">
                <a:tc>
                  <a:txBody>
                    <a:bodyPr/>
                    <a:lstStyle/>
                    <a:p>
                      <a:r>
                        <a:rPr lang="en-US" dirty="0"/>
                        <a:t>Vote on procedural matters within a working group</a:t>
                      </a:r>
                    </a:p>
                  </a:txBody>
                  <a:tcPr>
                    <a:lnB w="12700" cap="flat" cmpd="sng" algn="ctr">
                      <a:solidFill>
                        <a:schemeClr val="tx1"/>
                      </a:solidFill>
                      <a:prstDash val="solid"/>
                      <a:round/>
                      <a:headEnd type="none" w="med" len="med"/>
                      <a:tailEnd type="none" w="med" len="med"/>
                    </a:lnB>
                  </a:tcPr>
                </a:tc>
                <a:tc>
                  <a:txBody>
                    <a:bodyPr/>
                    <a:lstStyle/>
                    <a:p>
                      <a:pPr algn="ctr"/>
                      <a:endParaRPr lang="en-US" dirty="0"/>
                    </a:p>
                  </a:txBody>
                  <a:tcPr>
                    <a:lnB w="12700" cap="flat" cmpd="sng" algn="ctr">
                      <a:solidFill>
                        <a:schemeClr val="tx1"/>
                      </a:solidFill>
                      <a:prstDash val="solid"/>
                      <a:round/>
                      <a:headEnd type="none" w="med" len="med"/>
                      <a:tailEnd type="none" w="med" len="med"/>
                    </a:lnB>
                  </a:tcPr>
                </a:tc>
                <a:tc>
                  <a:txBody>
                    <a:bodyPr/>
                    <a:lstStyle/>
                    <a:p>
                      <a:pPr algn="ctr"/>
                      <a:endParaRPr lang="en-US" dirty="0"/>
                    </a:p>
                  </a:txBody>
                  <a:tcPr>
                    <a:lnB w="12700" cap="flat" cmpd="sng" algn="ctr">
                      <a:solidFill>
                        <a:schemeClr val="tx1"/>
                      </a:solidFill>
                      <a:prstDash val="solid"/>
                      <a:round/>
                      <a:headEnd type="none" w="med" len="med"/>
                      <a:tailEnd type="none" w="med" len="med"/>
                    </a:lnB>
                  </a:tcPr>
                </a:tc>
                <a:tc>
                  <a:txBody>
                    <a:bodyPr/>
                    <a:lstStyle/>
                    <a:p>
                      <a:pPr algn="ctr"/>
                      <a:endParaRPr lang="en-US"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4777868"/>
                  </a:ext>
                </a:extLst>
              </a:tr>
              <a:tr h="370840">
                <a:tc>
                  <a:txBody>
                    <a:bodyPr/>
                    <a:lstStyle/>
                    <a:p>
                      <a:r>
                        <a:rPr lang="en-US" dirty="0"/>
                        <a:t>Membership Cost </a:t>
                      </a:r>
                    </a:p>
                    <a:p>
                      <a:pPr marL="285750" indent="-285750">
                        <a:buFontTx/>
                        <a:buChar char="-"/>
                      </a:pPr>
                      <a:r>
                        <a:rPr lang="en-US" dirty="0"/>
                        <a:t>Non-profit tier available</a:t>
                      </a:r>
                    </a:p>
                    <a:p>
                      <a:pPr marL="285750" indent="-285750">
                        <a:buFontTx/>
                        <a:buChar char="-"/>
                      </a:pPr>
                      <a:r>
                        <a:rPr lang="en-US" dirty="0"/>
                        <a:t>Cost not inclusive of Linux Foundation membership</a:t>
                      </a:r>
                    </a:p>
                  </a:txBody>
                  <a:tcPr>
                    <a:lnT w="12700" cap="flat" cmpd="sng" algn="ctr">
                      <a:solidFill>
                        <a:schemeClr val="tx1"/>
                      </a:solidFill>
                      <a:prstDash val="solid"/>
                      <a:round/>
                      <a:headEnd type="none" w="med" len="med"/>
                      <a:tailEnd type="none" w="med" len="med"/>
                    </a:lnT>
                  </a:tcPr>
                </a:tc>
                <a:tc>
                  <a:txBody>
                    <a:bodyPr/>
                    <a:lstStyle/>
                    <a:p>
                      <a:pPr algn="ctr"/>
                      <a:r>
                        <a:rPr lang="en-US" dirty="0"/>
                        <a:t>$27,000</a:t>
                      </a:r>
                    </a:p>
                  </a:txBody>
                  <a:tcPr>
                    <a:lnT w="12700" cap="flat" cmpd="sng" algn="ctr">
                      <a:solidFill>
                        <a:schemeClr val="tx1"/>
                      </a:solidFill>
                      <a:prstDash val="solid"/>
                      <a:round/>
                      <a:headEnd type="none" w="med" len="med"/>
                      <a:tailEnd type="none" w="med" len="med"/>
                    </a:lnT>
                  </a:tcPr>
                </a:tc>
                <a:tc>
                  <a:txBody>
                    <a:bodyPr/>
                    <a:lstStyle/>
                    <a:p>
                      <a:pPr algn="ctr"/>
                      <a:r>
                        <a:rPr lang="en-US" dirty="0"/>
                        <a:t>$5000</a:t>
                      </a:r>
                    </a:p>
                  </a:txBody>
                  <a:tcPr>
                    <a:lnT w="12700" cap="flat" cmpd="sng" algn="ctr">
                      <a:solidFill>
                        <a:schemeClr val="tx1"/>
                      </a:solidFill>
                      <a:prstDash val="solid"/>
                      <a:round/>
                      <a:headEnd type="none" w="med" len="med"/>
                      <a:tailEnd type="none" w="med" len="med"/>
                    </a:lnT>
                  </a:tcPr>
                </a:tc>
                <a:tc>
                  <a:txBody>
                    <a:bodyPr/>
                    <a:lstStyle/>
                    <a:p>
                      <a:pPr algn="ctr"/>
                      <a:r>
                        <a:rPr lang="en-US" dirty="0"/>
                        <a:t>$0</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337721180"/>
                  </a:ext>
                </a:extLst>
              </a:tr>
            </a:tbl>
          </a:graphicData>
        </a:graphic>
      </p:graphicFrame>
      <p:sp>
        <p:nvSpPr>
          <p:cNvPr id="7" name="Oval 6">
            <a:extLst>
              <a:ext uri="{FF2B5EF4-FFF2-40B4-BE49-F238E27FC236}">
                <a16:creationId xmlns:a16="http://schemas.microsoft.com/office/drawing/2014/main" id="{2ED7E798-7A21-4D17-A02A-CD9910B9EDA6}"/>
              </a:ext>
            </a:extLst>
          </p:cNvPr>
          <p:cNvSpPr/>
          <p:nvPr/>
        </p:nvSpPr>
        <p:spPr>
          <a:xfrm>
            <a:off x="7778837" y="1883865"/>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C4A7D53-6A91-4834-952E-AD2B99B5FDE5}"/>
              </a:ext>
            </a:extLst>
          </p:cNvPr>
          <p:cNvSpPr/>
          <p:nvPr/>
        </p:nvSpPr>
        <p:spPr>
          <a:xfrm>
            <a:off x="7778837" y="2361519"/>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625D304-EE75-4D27-BFBA-5856417000D9}"/>
              </a:ext>
            </a:extLst>
          </p:cNvPr>
          <p:cNvSpPr/>
          <p:nvPr/>
        </p:nvSpPr>
        <p:spPr>
          <a:xfrm>
            <a:off x="7778837" y="2744543"/>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A0DA3AC3-FF44-4AC1-B7E7-80CA1A7B8F04}"/>
              </a:ext>
            </a:extLst>
          </p:cNvPr>
          <p:cNvSpPr/>
          <p:nvPr/>
        </p:nvSpPr>
        <p:spPr>
          <a:xfrm>
            <a:off x="7778837" y="3107137"/>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3FD1FCD-F3BB-4E5B-84CE-497B07D0B744}"/>
              </a:ext>
            </a:extLst>
          </p:cNvPr>
          <p:cNvSpPr/>
          <p:nvPr/>
        </p:nvSpPr>
        <p:spPr>
          <a:xfrm>
            <a:off x="7778837" y="3493033"/>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6BC6E88-12BF-47F3-9997-4FDC2878AA37}"/>
              </a:ext>
            </a:extLst>
          </p:cNvPr>
          <p:cNvSpPr/>
          <p:nvPr/>
        </p:nvSpPr>
        <p:spPr>
          <a:xfrm>
            <a:off x="7778837" y="3861564"/>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F7FA696-52E2-4F4B-8559-01F4AFC70820}"/>
              </a:ext>
            </a:extLst>
          </p:cNvPr>
          <p:cNvSpPr/>
          <p:nvPr/>
        </p:nvSpPr>
        <p:spPr>
          <a:xfrm>
            <a:off x="7781323" y="4218667"/>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5CEA6876-53F3-4BA2-8606-163D8F8F3000}"/>
              </a:ext>
            </a:extLst>
          </p:cNvPr>
          <p:cNvSpPr/>
          <p:nvPr/>
        </p:nvSpPr>
        <p:spPr>
          <a:xfrm>
            <a:off x="7778837" y="4606454"/>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1264E546-E804-45FD-A2D4-2A4C5B9C60B7}"/>
              </a:ext>
            </a:extLst>
          </p:cNvPr>
          <p:cNvSpPr/>
          <p:nvPr/>
        </p:nvSpPr>
        <p:spPr>
          <a:xfrm>
            <a:off x="7778837" y="4963557"/>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7D3E63F-F360-4980-A6AF-B61A6B9B79B2}"/>
              </a:ext>
            </a:extLst>
          </p:cNvPr>
          <p:cNvSpPr/>
          <p:nvPr/>
        </p:nvSpPr>
        <p:spPr>
          <a:xfrm>
            <a:off x="9104698" y="3109977"/>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E351C4C2-C642-4BF6-934F-194BF61DC592}"/>
              </a:ext>
            </a:extLst>
          </p:cNvPr>
          <p:cNvSpPr/>
          <p:nvPr/>
        </p:nvSpPr>
        <p:spPr>
          <a:xfrm>
            <a:off x="9104698" y="3481289"/>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95A1389D-6E94-4BCF-B88C-5E66F23C25D6}"/>
              </a:ext>
            </a:extLst>
          </p:cNvPr>
          <p:cNvSpPr/>
          <p:nvPr/>
        </p:nvSpPr>
        <p:spPr>
          <a:xfrm>
            <a:off x="10420589" y="3481289"/>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C64E19FE-5736-452F-B173-21D704DD4B2D}"/>
              </a:ext>
            </a:extLst>
          </p:cNvPr>
          <p:cNvSpPr/>
          <p:nvPr/>
        </p:nvSpPr>
        <p:spPr>
          <a:xfrm>
            <a:off x="9100956" y="3861564"/>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0B5BA39-0CFC-4078-AB94-C952D4679C03}"/>
              </a:ext>
            </a:extLst>
          </p:cNvPr>
          <p:cNvSpPr/>
          <p:nvPr/>
        </p:nvSpPr>
        <p:spPr>
          <a:xfrm>
            <a:off x="10419422" y="4218667"/>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B6143B89-E0A0-4284-9FFB-874074B4D6EB}"/>
              </a:ext>
            </a:extLst>
          </p:cNvPr>
          <p:cNvSpPr/>
          <p:nvPr/>
        </p:nvSpPr>
        <p:spPr>
          <a:xfrm>
            <a:off x="9104698" y="4218667"/>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2909F7F7-1CF1-471D-9D2F-AE1226DC41DB}"/>
              </a:ext>
            </a:extLst>
          </p:cNvPr>
          <p:cNvSpPr/>
          <p:nvPr/>
        </p:nvSpPr>
        <p:spPr>
          <a:xfrm>
            <a:off x="9100956" y="4606454"/>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E1D792A-3B86-499C-80B8-AB921BDB033F}"/>
              </a:ext>
            </a:extLst>
          </p:cNvPr>
          <p:cNvSpPr/>
          <p:nvPr/>
        </p:nvSpPr>
        <p:spPr>
          <a:xfrm>
            <a:off x="9104698" y="4963719"/>
            <a:ext cx="274320" cy="274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77256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676ECB-3D04-3C4E-805D-084EA956B5B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46676ECB-3D04-3C4E-805D-084EA956B5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2A07277-83E7-6742-A781-0551DA308326}"/>
              </a:ext>
            </a:extLst>
          </p:cNvPr>
          <p:cNvSpPr>
            <a:spLocks noGrp="1"/>
          </p:cNvSpPr>
          <p:nvPr>
            <p:ph type="ctrTitle"/>
          </p:nvPr>
        </p:nvSpPr>
        <p:spPr/>
        <p:txBody>
          <a:bodyPr vert="horz"/>
          <a:lstStyle/>
          <a:p>
            <a:r>
              <a:rPr lang="en-US" dirty="0"/>
              <a:t>Resources</a:t>
            </a:r>
          </a:p>
        </p:txBody>
      </p:sp>
    </p:spTree>
    <p:extLst>
      <p:ext uri="{BB962C8B-B14F-4D97-AF65-F5344CB8AC3E}">
        <p14:creationId xmlns:p14="http://schemas.microsoft.com/office/powerpoint/2010/main" val="732910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DB47D7-837D-0641-914C-810D95C654D9}"/>
              </a:ext>
            </a:extLst>
          </p:cNvPr>
          <p:cNvGraphicFramePr>
            <a:graphicFrameLocks noChangeAspect="1"/>
          </p:cNvGraphicFramePr>
          <p:nvPr>
            <p:custDataLst>
              <p:tags r:id="rId1"/>
            </p:custDataLst>
            <p:extLst>
              <p:ext uri="{D42A27DB-BD31-4B8C-83A1-F6EECF244321}">
                <p14:modId xmlns:p14="http://schemas.microsoft.com/office/powerpoint/2010/main" val="5770607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DDB47D7-837D-0641-914C-810D95C654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28507A7-49A0-A945-8695-D12D65BBA4A1}"/>
              </a:ext>
            </a:extLst>
          </p:cNvPr>
          <p:cNvSpPr>
            <a:spLocks noGrp="1"/>
          </p:cNvSpPr>
          <p:nvPr>
            <p:ph type="title"/>
          </p:nvPr>
        </p:nvSpPr>
        <p:spPr>
          <a:xfrm>
            <a:off x="479425" y="3429000"/>
            <a:ext cx="11206808" cy="525463"/>
          </a:xfrm>
        </p:spPr>
        <p:txBody>
          <a:bodyPr vert="horz"/>
          <a:lstStyle/>
          <a:p>
            <a:pPr algn="ctr"/>
            <a:r>
              <a:rPr lang="en-US" sz="3600" dirty="0">
                <a:cs typeface="Segoe UI"/>
                <a:hlinkClick r:id="rId6"/>
              </a:rPr>
              <a:t>www.</a:t>
            </a:r>
            <a:r>
              <a:rPr lang="en-US" sz="3600" dirty="0">
                <a:ea typeface="+mn-lt"/>
                <a:cs typeface="+mn-lt"/>
                <a:hlinkClick r:id="rId6"/>
              </a:rPr>
              <a:t>c2pa.org</a:t>
            </a:r>
            <a:endParaRPr lang="en-US" sz="3600" dirty="0">
              <a:ea typeface="+mn-lt"/>
              <a:cs typeface="+mn-lt"/>
              <a:hlinkClick r:id="rId7"/>
            </a:endParaRPr>
          </a:p>
        </p:txBody>
      </p:sp>
      <p:sp>
        <p:nvSpPr>
          <p:cNvPr id="2" name="Text Placeholder 5">
            <a:extLst>
              <a:ext uri="{FF2B5EF4-FFF2-40B4-BE49-F238E27FC236}">
                <a16:creationId xmlns:a16="http://schemas.microsoft.com/office/drawing/2014/main" id="{5EAAEBE8-018A-4B69-A912-7933E93C9116}"/>
              </a:ext>
            </a:extLst>
          </p:cNvPr>
          <p:cNvSpPr txBox="1">
            <a:spLocks/>
          </p:cNvSpPr>
          <p:nvPr/>
        </p:nvSpPr>
        <p:spPr>
          <a:xfrm>
            <a:off x="2816" y="2573165"/>
            <a:ext cx="12189184" cy="430887"/>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Clr>
                <a:schemeClr val="accent2"/>
              </a:buClr>
              <a:buSzPct val="120000"/>
              <a:buFont typeface="Courier New" panose="02070309020205020404" pitchFamily="49" charset="0"/>
              <a:buChar char="o"/>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SzPct val="120000"/>
              <a:buFont typeface="Courier New" panose="02070309020205020404" pitchFamily="49" charset="0"/>
              <a:buChar char="o"/>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2800" dirty="0"/>
              <a:t>Visit C2PA website for more information</a:t>
            </a:r>
            <a:endParaRPr lang="en-GB" sz="2800" dirty="0"/>
          </a:p>
        </p:txBody>
      </p:sp>
    </p:spTree>
    <p:extLst>
      <p:ext uri="{BB962C8B-B14F-4D97-AF65-F5344CB8AC3E}">
        <p14:creationId xmlns:p14="http://schemas.microsoft.com/office/powerpoint/2010/main" val="482425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1546F2-401D-9D47-84F1-EEB302FAC5E0}"/>
              </a:ext>
            </a:extLst>
          </p:cNvPr>
          <p:cNvGraphicFramePr>
            <a:graphicFrameLocks noChangeAspect="1"/>
          </p:cNvGraphicFramePr>
          <p:nvPr>
            <p:custDataLst>
              <p:tags r:id="rId1"/>
            </p:custDataLst>
            <p:extLst>
              <p:ext uri="{D42A27DB-BD31-4B8C-83A1-F6EECF244321}">
                <p14:modId xmlns:p14="http://schemas.microsoft.com/office/powerpoint/2010/main" val="36699639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CA1546F2-401D-9D47-84F1-EEB302FAC5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8F7D7F-3DCE-AA4C-A607-2924F3FBEB4B}"/>
              </a:ext>
            </a:extLst>
          </p:cNvPr>
          <p:cNvSpPr>
            <a:spLocks noGrp="1"/>
          </p:cNvSpPr>
          <p:nvPr>
            <p:ph type="title"/>
          </p:nvPr>
        </p:nvSpPr>
        <p:spPr/>
        <p:txBody>
          <a:bodyPr vert="horz"/>
          <a:lstStyle/>
          <a:p>
            <a:r>
              <a:rPr lang="en-US" dirty="0"/>
              <a:t>Agenda</a:t>
            </a:r>
          </a:p>
        </p:txBody>
      </p:sp>
      <p:sp>
        <p:nvSpPr>
          <p:cNvPr id="5" name="Content Placeholder 4">
            <a:extLst>
              <a:ext uri="{FF2B5EF4-FFF2-40B4-BE49-F238E27FC236}">
                <a16:creationId xmlns:a16="http://schemas.microsoft.com/office/drawing/2014/main" id="{476C177B-9DC8-8E45-8010-F3162ACE6EB0}"/>
              </a:ext>
            </a:extLst>
          </p:cNvPr>
          <p:cNvSpPr>
            <a:spLocks noGrp="1"/>
          </p:cNvSpPr>
          <p:nvPr>
            <p:ph idx="1"/>
          </p:nvPr>
        </p:nvSpPr>
        <p:spPr/>
        <p:txBody>
          <a:bodyPr>
            <a:normAutofit/>
          </a:bodyPr>
          <a:lstStyle/>
          <a:p>
            <a:r>
              <a:rPr lang="en-US" sz="2800" dirty="0"/>
              <a:t> C2PA Overview</a:t>
            </a:r>
          </a:p>
          <a:p>
            <a:r>
              <a:rPr lang="en-US" sz="2800" dirty="0"/>
              <a:t> Founding Members</a:t>
            </a:r>
          </a:p>
          <a:p>
            <a:r>
              <a:rPr lang="en-US" sz="2800" dirty="0"/>
              <a:t> Key Activities</a:t>
            </a:r>
          </a:p>
          <a:p>
            <a:r>
              <a:rPr lang="en-US" sz="2800" dirty="0"/>
              <a:t> Alignment with Project Origin and CAI</a:t>
            </a:r>
          </a:p>
          <a:p>
            <a:r>
              <a:rPr lang="en-US" sz="2800" dirty="0"/>
              <a:t> Membership Opportunities</a:t>
            </a:r>
          </a:p>
          <a:p>
            <a:r>
              <a:rPr lang="en-US" sz="2800" dirty="0"/>
              <a:t> Resources</a:t>
            </a:r>
          </a:p>
        </p:txBody>
      </p:sp>
    </p:spTree>
    <p:extLst>
      <p:ext uri="{BB962C8B-B14F-4D97-AF65-F5344CB8AC3E}">
        <p14:creationId xmlns:p14="http://schemas.microsoft.com/office/powerpoint/2010/main" val="863221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676ECB-3D04-3C4E-805D-084EA956B5BA}"/>
              </a:ext>
            </a:extLst>
          </p:cNvPr>
          <p:cNvGraphicFramePr>
            <a:graphicFrameLocks noChangeAspect="1"/>
          </p:cNvGraphicFramePr>
          <p:nvPr>
            <p:custDataLst>
              <p:tags r:id="rId1"/>
            </p:custDataLst>
            <p:extLst>
              <p:ext uri="{D42A27DB-BD31-4B8C-83A1-F6EECF244321}">
                <p14:modId xmlns:p14="http://schemas.microsoft.com/office/powerpoint/2010/main" val="32498531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46676ECB-3D04-3C4E-805D-084EA956B5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2A07277-83E7-6742-A781-0551DA308326}"/>
              </a:ext>
            </a:extLst>
          </p:cNvPr>
          <p:cNvSpPr>
            <a:spLocks noGrp="1"/>
          </p:cNvSpPr>
          <p:nvPr>
            <p:ph type="ctrTitle"/>
          </p:nvPr>
        </p:nvSpPr>
        <p:spPr/>
        <p:txBody>
          <a:bodyPr vert="horz"/>
          <a:lstStyle/>
          <a:p>
            <a:r>
              <a:rPr lang="en-US" dirty="0"/>
              <a:t>Who we are</a:t>
            </a:r>
          </a:p>
        </p:txBody>
      </p:sp>
    </p:spTree>
    <p:extLst>
      <p:ext uri="{BB962C8B-B14F-4D97-AF65-F5344CB8AC3E}">
        <p14:creationId xmlns:p14="http://schemas.microsoft.com/office/powerpoint/2010/main" val="3810901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1546F2-401D-9D47-84F1-EEB302FAC5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CA1546F2-401D-9D47-84F1-EEB302FAC5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476C177B-9DC8-8E45-8010-F3162ACE6EB0}"/>
              </a:ext>
            </a:extLst>
          </p:cNvPr>
          <p:cNvSpPr>
            <a:spLocks noGrp="1"/>
          </p:cNvSpPr>
          <p:nvPr>
            <p:ph idx="1"/>
          </p:nvPr>
        </p:nvSpPr>
        <p:spPr>
          <a:xfrm>
            <a:off x="787183" y="1657666"/>
            <a:ext cx="10617633" cy="4102419"/>
          </a:xfrm>
        </p:spPr>
        <p:txBody>
          <a:bodyPr>
            <a:normAutofit/>
          </a:bodyPr>
          <a:lstStyle/>
          <a:p>
            <a:pPr marL="0" lvl="0" indent="0" algn="ctr">
              <a:buNone/>
            </a:pPr>
            <a:r>
              <a:rPr lang="en-US" sz="2800" dirty="0">
                <a:solidFill>
                  <a:schemeClr val="accent2"/>
                </a:solidFill>
                <a:ea typeface="Times New Roman" panose="02020603050405020304" pitchFamily="18" charset="0"/>
                <a:cs typeface="Arial" panose="020B0604020202020204" pitchFamily="34" charset="0"/>
              </a:rPr>
              <a:t>C2PA Charter</a:t>
            </a:r>
          </a:p>
          <a:p>
            <a:pPr marL="0" indent="0" algn="ctr">
              <a:buNone/>
            </a:pPr>
            <a:r>
              <a:rPr lang="en-US" sz="2800" dirty="0">
                <a:solidFill>
                  <a:srgbClr val="24292E"/>
                </a:solidFill>
                <a:ea typeface="Times New Roman" panose="02020603050405020304" pitchFamily="18" charset="0"/>
                <a:cs typeface="Arial" panose="020B0604020202020204" pitchFamily="34" charset="0"/>
              </a:rPr>
              <a:t>The C2PA is a </a:t>
            </a:r>
            <a:r>
              <a:rPr lang="en-US" sz="2800" dirty="0">
                <a:solidFill>
                  <a:srgbClr val="24292E"/>
                </a:solidFill>
                <a:ea typeface="Times New Roman" panose="02020603050405020304" pitchFamily="18" charset="0"/>
                <a:cs typeface="Arial" panose="020B0604020202020204" pitchFamily="34" charset="0"/>
                <a:hlinkClick r:id="rId5"/>
              </a:rPr>
              <a:t>Joint Development Foundation </a:t>
            </a:r>
            <a:r>
              <a:rPr lang="en-US" sz="2800" dirty="0">
                <a:solidFill>
                  <a:srgbClr val="24292E"/>
                </a:solidFill>
                <a:ea typeface="Times New Roman" panose="02020603050405020304" pitchFamily="18" charset="0"/>
                <a:cs typeface="Arial" panose="020B0604020202020204" pitchFamily="34" charset="0"/>
              </a:rPr>
              <a:t>project whose mission is to develop technical specifications that can establish content provenance and authenticity at scale to give publishers, creators, and consumers the ability to trace the origin of media.</a:t>
            </a:r>
            <a:r>
              <a:rPr lang="en-US" sz="2800" dirty="0"/>
              <a:t> </a:t>
            </a:r>
          </a:p>
          <a:p>
            <a:pPr marL="0" indent="0" algn="ctr">
              <a:buNone/>
            </a:pPr>
            <a:endParaRPr lang="en-US" sz="2800" dirty="0"/>
          </a:p>
          <a:p>
            <a:pPr marL="0" indent="0" algn="ctr">
              <a:buNone/>
            </a:pPr>
            <a:r>
              <a:rPr lang="en-US" sz="2400" dirty="0">
                <a:hlinkClick r:id="rId6"/>
              </a:rPr>
              <a:t>Charter | C2PA</a:t>
            </a:r>
            <a:endParaRPr lang="en-US" sz="2800" dirty="0"/>
          </a:p>
          <a:p>
            <a:pPr marL="0" lvl="0" indent="0" algn="ctr">
              <a:buNone/>
            </a:pPr>
            <a:endParaRPr lang="en-US" sz="2800" dirty="0">
              <a:solidFill>
                <a:srgbClr val="24292E"/>
              </a:solidFill>
              <a:ea typeface="Times New Roman" panose="02020603050405020304" pitchFamily="18" charset="0"/>
              <a:cs typeface="Arial" panose="020B0604020202020204" pitchFamily="34" charset="0"/>
            </a:endParaRPr>
          </a:p>
        </p:txBody>
      </p:sp>
      <p:cxnSp>
        <p:nvCxnSpPr>
          <p:cNvPr id="2" name="Straight Connector 1">
            <a:extLst>
              <a:ext uri="{FF2B5EF4-FFF2-40B4-BE49-F238E27FC236}">
                <a16:creationId xmlns:a16="http://schemas.microsoft.com/office/drawing/2014/main" id="{40B6AD9B-0FE8-4F29-9D40-F5F301647B83}"/>
              </a:ext>
            </a:extLst>
          </p:cNvPr>
          <p:cNvCxnSpPr>
            <a:cxnSpLocks/>
          </p:cNvCxnSpPr>
          <p:nvPr/>
        </p:nvCxnSpPr>
        <p:spPr>
          <a:xfrm>
            <a:off x="2504921" y="3930413"/>
            <a:ext cx="71558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0431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1546F2-401D-9D47-84F1-EEB302FAC5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CA1546F2-401D-9D47-84F1-EEB302FAC5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9F3A2EA9-A5DD-46E9-A20B-001F579947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53701" y="2826681"/>
            <a:ext cx="9284596" cy="59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4">
            <a:extLst>
              <a:ext uri="{FF2B5EF4-FFF2-40B4-BE49-F238E27FC236}">
                <a16:creationId xmlns:a16="http://schemas.microsoft.com/office/drawing/2014/main" id="{E900D947-2D67-4694-9E06-E540CCF18D2B}"/>
              </a:ext>
            </a:extLst>
          </p:cNvPr>
          <p:cNvSpPr>
            <a:spLocks noGrp="1"/>
          </p:cNvSpPr>
          <p:nvPr>
            <p:ph idx="1"/>
          </p:nvPr>
        </p:nvSpPr>
        <p:spPr>
          <a:xfrm>
            <a:off x="787183" y="4031319"/>
            <a:ext cx="10617633" cy="1416685"/>
          </a:xfrm>
        </p:spPr>
        <p:txBody>
          <a:bodyPr>
            <a:normAutofit/>
          </a:bodyPr>
          <a:lstStyle/>
          <a:p>
            <a:pPr marL="0" lvl="0" indent="0" algn="ctr">
              <a:buNone/>
            </a:pPr>
            <a:r>
              <a:rPr lang="en-US" sz="2800" i="1" dirty="0">
                <a:ea typeface="Times New Roman" panose="02020603050405020304" pitchFamily="18" charset="0"/>
                <a:cs typeface="Arial" panose="020B0604020202020204" pitchFamily="34" charset="0"/>
              </a:rPr>
              <a:t>February 2021</a:t>
            </a:r>
          </a:p>
        </p:txBody>
      </p:sp>
    </p:spTree>
    <p:extLst>
      <p:ext uri="{BB962C8B-B14F-4D97-AF65-F5344CB8AC3E}">
        <p14:creationId xmlns:p14="http://schemas.microsoft.com/office/powerpoint/2010/main" val="8867822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676ECB-3D04-3C4E-805D-084EA956B5B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46676ECB-3D04-3C4E-805D-084EA956B5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2A07277-83E7-6742-A781-0551DA308326}"/>
              </a:ext>
            </a:extLst>
          </p:cNvPr>
          <p:cNvSpPr>
            <a:spLocks noGrp="1"/>
          </p:cNvSpPr>
          <p:nvPr>
            <p:ph type="ctrTitle"/>
          </p:nvPr>
        </p:nvSpPr>
        <p:spPr/>
        <p:txBody>
          <a:bodyPr vert="horz"/>
          <a:lstStyle/>
          <a:p>
            <a:r>
              <a:rPr lang="en-US" dirty="0"/>
              <a:t>What we do</a:t>
            </a:r>
          </a:p>
        </p:txBody>
      </p:sp>
    </p:spTree>
    <p:extLst>
      <p:ext uri="{BB962C8B-B14F-4D97-AF65-F5344CB8AC3E}">
        <p14:creationId xmlns:p14="http://schemas.microsoft.com/office/powerpoint/2010/main" val="404283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1546F2-401D-9D47-84F1-EEB302FAC5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CA1546F2-401D-9D47-84F1-EEB302FAC5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8F7D7F-3DCE-AA4C-A607-2924F3FBEB4B}"/>
              </a:ext>
            </a:extLst>
          </p:cNvPr>
          <p:cNvSpPr>
            <a:spLocks noGrp="1"/>
          </p:cNvSpPr>
          <p:nvPr>
            <p:ph type="title"/>
          </p:nvPr>
        </p:nvSpPr>
        <p:spPr/>
        <p:txBody>
          <a:bodyPr vert="horz"/>
          <a:lstStyle/>
          <a:p>
            <a:r>
              <a:rPr lang="en-US" dirty="0"/>
              <a:t>C2PA Key Activities</a:t>
            </a:r>
          </a:p>
        </p:txBody>
      </p:sp>
      <p:sp>
        <p:nvSpPr>
          <p:cNvPr id="5" name="Content Placeholder 4">
            <a:extLst>
              <a:ext uri="{FF2B5EF4-FFF2-40B4-BE49-F238E27FC236}">
                <a16:creationId xmlns:a16="http://schemas.microsoft.com/office/drawing/2014/main" id="{476C177B-9DC8-8E45-8010-F3162ACE6EB0}"/>
              </a:ext>
            </a:extLst>
          </p:cNvPr>
          <p:cNvSpPr>
            <a:spLocks noGrp="1"/>
          </p:cNvSpPr>
          <p:nvPr>
            <p:ph idx="1"/>
          </p:nvPr>
        </p:nvSpPr>
        <p:spPr>
          <a:xfrm>
            <a:off x="1518331" y="1596798"/>
            <a:ext cx="9583112" cy="4546027"/>
          </a:xfrm>
        </p:spPr>
        <p:txBody>
          <a:bodyPr>
            <a:normAutofit fontScale="92500"/>
          </a:bodyPr>
          <a:lstStyle/>
          <a:p>
            <a:pPr marL="0" indent="0">
              <a:lnSpc>
                <a:spcPct val="100000"/>
              </a:lnSpc>
              <a:spcBef>
                <a:spcPts val="0"/>
              </a:spcBef>
              <a:spcAft>
                <a:spcPts val="2400"/>
              </a:spcAft>
              <a:buNone/>
            </a:pPr>
            <a:r>
              <a:rPr lang="en-GB" sz="2000" dirty="0"/>
              <a:t>Applying requirements from industry to the development of content provenance specifications</a:t>
            </a:r>
          </a:p>
          <a:p>
            <a:pPr marL="0" indent="0">
              <a:lnSpc>
                <a:spcPct val="100000"/>
              </a:lnSpc>
              <a:spcBef>
                <a:spcPts val="0"/>
              </a:spcBef>
              <a:spcAft>
                <a:spcPts val="2400"/>
              </a:spcAft>
              <a:buNone/>
            </a:pPr>
            <a:r>
              <a:rPr lang="en-GB" sz="2000" dirty="0"/>
              <a:t>Ensuring that the specifications can be used in ways that respect privacy and personal control of data, and promote tool availability for a wide range of organizations</a:t>
            </a:r>
          </a:p>
          <a:p>
            <a:pPr marL="0" indent="0">
              <a:lnSpc>
                <a:spcPct val="100000"/>
              </a:lnSpc>
              <a:spcBef>
                <a:spcPts val="0"/>
              </a:spcBef>
              <a:spcAft>
                <a:spcPts val="2400"/>
              </a:spcAft>
              <a:buNone/>
            </a:pPr>
            <a:r>
              <a:rPr lang="en-GB" sz="2000" dirty="0"/>
              <a:t>Ensuring that specifications meet appropriate security requirements</a:t>
            </a:r>
          </a:p>
          <a:p>
            <a:pPr marL="0" indent="0">
              <a:lnSpc>
                <a:spcPct val="100000"/>
              </a:lnSpc>
              <a:spcBef>
                <a:spcPts val="0"/>
              </a:spcBef>
              <a:spcAft>
                <a:spcPts val="2400"/>
              </a:spcAft>
              <a:buNone/>
            </a:pPr>
            <a:r>
              <a:rPr lang="en-GB" sz="2000" dirty="0"/>
              <a:t>Promoting selected specifications to become global standards</a:t>
            </a:r>
          </a:p>
          <a:p>
            <a:pPr marL="0" indent="0">
              <a:lnSpc>
                <a:spcPct val="100000"/>
              </a:lnSpc>
              <a:spcBef>
                <a:spcPts val="0"/>
              </a:spcBef>
              <a:spcAft>
                <a:spcPts val="2400"/>
              </a:spcAft>
              <a:buNone/>
            </a:pPr>
            <a:r>
              <a:rPr lang="en-GB" sz="2000" dirty="0"/>
              <a:t>The global adoption of digital provenance techniques by target industry devices, systems, and services, including social media and messaging platforms</a:t>
            </a:r>
          </a:p>
          <a:p>
            <a:pPr marL="0" indent="0">
              <a:lnSpc>
                <a:spcPct val="100000"/>
              </a:lnSpc>
              <a:spcBef>
                <a:spcPts val="0"/>
              </a:spcBef>
              <a:spcAft>
                <a:spcPts val="2400"/>
              </a:spcAft>
              <a:buNone/>
            </a:pPr>
            <a:r>
              <a:rPr lang="en-GB" sz="2000" dirty="0"/>
              <a:t>Ensuring that content accessibility is not negatively impacted by digital provenance techniques</a:t>
            </a:r>
          </a:p>
        </p:txBody>
      </p:sp>
      <p:pic>
        <p:nvPicPr>
          <p:cNvPr id="2" name="Graphic 1" descr="Badge Tick1 outline">
            <a:extLst>
              <a:ext uri="{FF2B5EF4-FFF2-40B4-BE49-F238E27FC236}">
                <a16:creationId xmlns:a16="http://schemas.microsoft.com/office/drawing/2014/main" id="{B3206E7D-5E57-4BE4-B223-88E119E226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150" y="1610285"/>
            <a:ext cx="539616" cy="539616"/>
          </a:xfrm>
          <a:prstGeom prst="rect">
            <a:avLst/>
          </a:prstGeom>
        </p:spPr>
      </p:pic>
      <p:pic>
        <p:nvPicPr>
          <p:cNvPr id="3" name="Graphic 2" descr="Badge Tick1 outline">
            <a:extLst>
              <a:ext uri="{FF2B5EF4-FFF2-40B4-BE49-F238E27FC236}">
                <a16:creationId xmlns:a16="http://schemas.microsoft.com/office/drawing/2014/main" id="{A72C3F34-A0D3-4D18-BF00-4EAE572204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150" y="2508686"/>
            <a:ext cx="539616" cy="539616"/>
          </a:xfrm>
          <a:prstGeom prst="rect">
            <a:avLst/>
          </a:prstGeom>
        </p:spPr>
      </p:pic>
      <p:pic>
        <p:nvPicPr>
          <p:cNvPr id="10" name="Graphic 9" descr="Badge Tick1 outline">
            <a:extLst>
              <a:ext uri="{FF2B5EF4-FFF2-40B4-BE49-F238E27FC236}">
                <a16:creationId xmlns:a16="http://schemas.microsoft.com/office/drawing/2014/main" id="{2383F9D2-875A-4F17-812B-552F71DB84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150" y="3244279"/>
            <a:ext cx="539616" cy="539616"/>
          </a:xfrm>
          <a:prstGeom prst="rect">
            <a:avLst/>
          </a:prstGeom>
        </p:spPr>
      </p:pic>
      <p:pic>
        <p:nvPicPr>
          <p:cNvPr id="12" name="Graphic 11" descr="Badge Tick1 outline">
            <a:extLst>
              <a:ext uri="{FF2B5EF4-FFF2-40B4-BE49-F238E27FC236}">
                <a16:creationId xmlns:a16="http://schemas.microsoft.com/office/drawing/2014/main" id="{6AF92087-2914-49A3-80F8-82B1E98520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150" y="3836673"/>
            <a:ext cx="539616" cy="539616"/>
          </a:xfrm>
          <a:prstGeom prst="rect">
            <a:avLst/>
          </a:prstGeom>
        </p:spPr>
      </p:pic>
      <p:pic>
        <p:nvPicPr>
          <p:cNvPr id="14" name="Graphic 13" descr="Badge Tick1 outline">
            <a:extLst>
              <a:ext uri="{FF2B5EF4-FFF2-40B4-BE49-F238E27FC236}">
                <a16:creationId xmlns:a16="http://schemas.microsoft.com/office/drawing/2014/main" id="{41EAA0CA-F918-43EB-8396-CD15545FED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150" y="4549700"/>
            <a:ext cx="539616" cy="539616"/>
          </a:xfrm>
          <a:prstGeom prst="rect">
            <a:avLst/>
          </a:prstGeom>
        </p:spPr>
      </p:pic>
      <p:pic>
        <p:nvPicPr>
          <p:cNvPr id="16" name="Graphic 15" descr="Badge Tick1 outline">
            <a:extLst>
              <a:ext uri="{FF2B5EF4-FFF2-40B4-BE49-F238E27FC236}">
                <a16:creationId xmlns:a16="http://schemas.microsoft.com/office/drawing/2014/main" id="{BCAD460A-5A47-4706-BAB1-DA50C5A81F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150" y="5429267"/>
            <a:ext cx="539616" cy="539616"/>
          </a:xfrm>
          <a:prstGeom prst="rect">
            <a:avLst/>
          </a:prstGeom>
        </p:spPr>
      </p:pic>
    </p:spTree>
    <p:extLst>
      <p:ext uri="{BB962C8B-B14F-4D97-AF65-F5344CB8AC3E}">
        <p14:creationId xmlns:p14="http://schemas.microsoft.com/office/powerpoint/2010/main" val="3020297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676ECB-3D04-3C4E-805D-084EA956B5B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46676ECB-3D04-3C4E-805D-084EA956B5B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2A07277-83E7-6742-A781-0551DA308326}"/>
              </a:ext>
            </a:extLst>
          </p:cNvPr>
          <p:cNvSpPr>
            <a:spLocks noGrp="1"/>
          </p:cNvSpPr>
          <p:nvPr>
            <p:ph type="ctrTitle"/>
          </p:nvPr>
        </p:nvSpPr>
        <p:spPr/>
        <p:txBody>
          <a:bodyPr vert="horz"/>
          <a:lstStyle/>
          <a:p>
            <a:r>
              <a:rPr lang="en-US" dirty="0"/>
              <a:t>Where we fit</a:t>
            </a:r>
          </a:p>
        </p:txBody>
      </p:sp>
    </p:spTree>
    <p:extLst>
      <p:ext uri="{BB962C8B-B14F-4D97-AF65-F5344CB8AC3E}">
        <p14:creationId xmlns:p14="http://schemas.microsoft.com/office/powerpoint/2010/main" val="1344600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A3047D48-CA24-43FE-B08E-53B463F02A57}"/>
              </a:ext>
            </a:extLst>
          </p:cNvPr>
          <p:cNvSpPr/>
          <p:nvPr/>
        </p:nvSpPr>
        <p:spPr bwMode="auto">
          <a:xfrm>
            <a:off x="6677601" y="1748266"/>
            <a:ext cx="3849165" cy="3361467"/>
          </a:xfrm>
          <a:prstGeom prst="rect">
            <a:avLst/>
          </a:prstGeom>
          <a:solidFill>
            <a:schemeClr val="bg1"/>
          </a:solidFill>
          <a:ln>
            <a:noFill/>
            <a:prstDash val="sysDot"/>
          </a:ln>
          <a:effectLst>
            <a:outerShdw blurRad="3556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schemeClr val="lt1">
                  <a:alpha val="0"/>
                </a:schemeClr>
              </a:solidFill>
            </a:endParaRPr>
          </a:p>
        </p:txBody>
      </p:sp>
      <p:sp>
        <p:nvSpPr>
          <p:cNvPr id="66" name="Rectangle 65">
            <a:extLst>
              <a:ext uri="{FF2B5EF4-FFF2-40B4-BE49-F238E27FC236}">
                <a16:creationId xmlns:a16="http://schemas.microsoft.com/office/drawing/2014/main" id="{FFD2EA3C-10B0-4059-AF21-AE8E83EBEEF6}"/>
              </a:ext>
            </a:extLst>
          </p:cNvPr>
          <p:cNvSpPr/>
          <p:nvPr/>
        </p:nvSpPr>
        <p:spPr bwMode="auto">
          <a:xfrm>
            <a:off x="1375319" y="1748266"/>
            <a:ext cx="3849166" cy="3361467"/>
          </a:xfrm>
          <a:prstGeom prst="rect">
            <a:avLst/>
          </a:prstGeom>
          <a:solidFill>
            <a:schemeClr val="bg1"/>
          </a:solidFill>
          <a:ln>
            <a:noFill/>
            <a:prstDash val="sysDot"/>
          </a:ln>
          <a:effectLst>
            <a:outerShdw blurRad="355600" algn="ctr"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schemeClr val="lt1">
                  <a:alpha val="0"/>
                </a:schemeClr>
              </a:solidFill>
            </a:endParaRPr>
          </a:p>
        </p:txBody>
      </p:sp>
      <p:graphicFrame>
        <p:nvGraphicFramePr>
          <p:cNvPr id="6" name="Object 5" hidden="1">
            <a:extLst>
              <a:ext uri="{FF2B5EF4-FFF2-40B4-BE49-F238E27FC236}">
                <a16:creationId xmlns:a16="http://schemas.microsoft.com/office/drawing/2014/main" id="{CA1546F2-401D-9D47-84F1-EEB302FAC5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CA1546F2-401D-9D47-84F1-EEB302FAC5E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F586ACAF-1594-45E5-AC03-CD2231915AE2}"/>
              </a:ext>
            </a:extLst>
          </p:cNvPr>
          <p:cNvPicPr/>
          <p:nvPr/>
        </p:nvPicPr>
        <p:blipFill>
          <a:blip r:embed="rId6"/>
          <a:stretch>
            <a:fillRect/>
          </a:stretch>
        </p:blipFill>
        <p:spPr>
          <a:xfrm>
            <a:off x="6780065" y="2200196"/>
            <a:ext cx="3644235" cy="949095"/>
          </a:xfrm>
          <a:prstGeom prst="rect">
            <a:avLst/>
          </a:prstGeom>
        </p:spPr>
      </p:pic>
      <p:pic>
        <p:nvPicPr>
          <p:cNvPr id="22" name="Picture 2">
            <a:extLst>
              <a:ext uri="{FF2B5EF4-FFF2-40B4-BE49-F238E27FC236}">
                <a16:creationId xmlns:a16="http://schemas.microsoft.com/office/drawing/2014/main" id="{C291BC23-4FE6-4D0E-9C38-4A70323FD3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29686" y="2200196"/>
            <a:ext cx="3276146" cy="1004409"/>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BFFA3B0F-8852-4ABF-B513-09DF83B739CC}"/>
              </a:ext>
            </a:extLst>
          </p:cNvPr>
          <p:cNvSpPr txBox="1"/>
          <p:nvPr/>
        </p:nvSpPr>
        <p:spPr>
          <a:xfrm>
            <a:off x="1580250" y="3825303"/>
            <a:ext cx="3425582" cy="923330"/>
          </a:xfrm>
          <a:prstGeom prst="rect">
            <a:avLst/>
          </a:prstGeom>
          <a:noFill/>
        </p:spPr>
        <p:txBody>
          <a:bodyPr wrap="square">
            <a:spAutoFit/>
          </a:bodyPr>
          <a:lstStyle/>
          <a:p>
            <a:pPr algn="ctr"/>
            <a:r>
              <a:rPr lang="en-US" dirty="0">
                <a:latin typeface="Trebuchet MS" panose="020B0603020202020204" pitchFamily="34" charset="0"/>
                <a:ea typeface="Calibri" panose="020F0502020204030204" pitchFamily="34" charset="0"/>
              </a:rPr>
              <a:t>B</a:t>
            </a:r>
            <a:r>
              <a:rPr lang="en-US" sz="1800" dirty="0">
                <a:effectLst/>
                <a:latin typeface="Trebuchet MS" panose="020B0603020202020204" pitchFamily="34" charset="0"/>
                <a:ea typeface="Calibri" panose="020F0502020204030204" pitchFamily="34" charset="0"/>
              </a:rPr>
              <a:t>uilding a system to provide provenance and history for digital media</a:t>
            </a:r>
            <a:endParaRPr lang="en-US" dirty="0">
              <a:latin typeface="Trebuchet MS" panose="020B0603020202020204" pitchFamily="34" charset="0"/>
            </a:endParaRPr>
          </a:p>
        </p:txBody>
      </p:sp>
      <p:sp>
        <p:nvSpPr>
          <p:cNvPr id="70" name="TextBox 69">
            <a:extLst>
              <a:ext uri="{FF2B5EF4-FFF2-40B4-BE49-F238E27FC236}">
                <a16:creationId xmlns:a16="http://schemas.microsoft.com/office/drawing/2014/main" id="{36F9CBB0-269F-4D20-A188-337CB762F885}"/>
              </a:ext>
            </a:extLst>
          </p:cNvPr>
          <p:cNvSpPr txBox="1"/>
          <p:nvPr/>
        </p:nvSpPr>
        <p:spPr>
          <a:xfrm>
            <a:off x="6780065" y="3601221"/>
            <a:ext cx="3644235" cy="1200329"/>
          </a:xfrm>
          <a:prstGeom prst="rect">
            <a:avLst/>
          </a:prstGeom>
          <a:noFill/>
        </p:spPr>
        <p:txBody>
          <a:bodyPr wrap="square">
            <a:spAutoFit/>
          </a:bodyPr>
          <a:lstStyle/>
          <a:p>
            <a:pPr algn="ctr"/>
            <a:r>
              <a:rPr lang="en-US" dirty="0">
                <a:latin typeface="Trebuchet MS" panose="020B0603020202020204" pitchFamily="34" charset="0"/>
                <a:ea typeface="Calibri" panose="020F0502020204030204" pitchFamily="34" charset="0"/>
              </a:rPr>
              <a:t>D</a:t>
            </a:r>
            <a:r>
              <a:rPr lang="en-US" sz="1800" dirty="0">
                <a:effectLst/>
                <a:latin typeface="Trebuchet MS" panose="020B0603020202020204" pitchFamily="34" charset="0"/>
                <a:ea typeface="Calibri" panose="020F0502020204030204" pitchFamily="34" charset="0"/>
              </a:rPr>
              <a:t>eveloping a pipeline for signaling, certification and tracking the history of news content</a:t>
            </a:r>
            <a:endParaRPr lang="en-US" dirty="0">
              <a:latin typeface="Trebuchet MS" panose="020B0603020202020204" pitchFamily="34" charset="0"/>
            </a:endParaRPr>
          </a:p>
        </p:txBody>
      </p:sp>
      <p:sp>
        <p:nvSpPr>
          <p:cNvPr id="71" name="Title 3">
            <a:extLst>
              <a:ext uri="{FF2B5EF4-FFF2-40B4-BE49-F238E27FC236}">
                <a16:creationId xmlns:a16="http://schemas.microsoft.com/office/drawing/2014/main" id="{B1049109-6557-4048-8D5D-5B7B1E00E98C}"/>
              </a:ext>
            </a:extLst>
          </p:cNvPr>
          <p:cNvSpPr>
            <a:spLocks noGrp="1"/>
          </p:cNvSpPr>
          <p:nvPr>
            <p:ph type="title"/>
          </p:nvPr>
        </p:nvSpPr>
        <p:spPr>
          <a:xfrm>
            <a:off x="479425" y="549275"/>
            <a:ext cx="11206808" cy="525463"/>
          </a:xfrm>
        </p:spPr>
        <p:txBody>
          <a:bodyPr vert="horz"/>
          <a:lstStyle/>
          <a:p>
            <a:r>
              <a:rPr lang="en-US" dirty="0"/>
              <a:t>Complementary Efforts</a:t>
            </a:r>
          </a:p>
        </p:txBody>
      </p:sp>
    </p:spTree>
    <p:extLst>
      <p:ext uri="{BB962C8B-B14F-4D97-AF65-F5344CB8AC3E}">
        <p14:creationId xmlns:p14="http://schemas.microsoft.com/office/powerpoint/2010/main" val="792337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2PA">
      <a:dk1>
        <a:srgbClr val="000000"/>
      </a:dk1>
      <a:lt1>
        <a:srgbClr val="FFFFFF"/>
      </a:lt1>
      <a:dk2>
        <a:srgbClr val="191A19"/>
      </a:dk2>
      <a:lt2>
        <a:srgbClr val="DCDCDC"/>
      </a:lt2>
      <a:accent1>
        <a:srgbClr val="3333CB"/>
      </a:accent1>
      <a:accent2>
        <a:srgbClr val="0065FE"/>
      </a:accent2>
      <a:accent3>
        <a:srgbClr val="33CBFE"/>
      </a:accent3>
      <a:accent4>
        <a:srgbClr val="CB0000"/>
      </a:accent4>
      <a:accent5>
        <a:srgbClr val="FF0000"/>
      </a:accent5>
      <a:accent6>
        <a:srgbClr val="FE9898"/>
      </a:accent6>
      <a:hlink>
        <a:srgbClr val="0065FE"/>
      </a:hlink>
      <a:folHlink>
        <a:srgbClr val="0065FE"/>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D4830338-53F2-324D-A959-F7208CF01BB1}" vid="{3D07D699-07E8-1D45-9228-1F46A1F49CB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dc31534-7109-48dc-8c39-3a5e87db2606">
      <UserInfo>
        <DisplayName>Andrew Jenks</DisplayName>
        <AccountId>18</AccountId>
        <AccountType/>
      </UserInfo>
      <UserInfo>
        <DisplayName>Ashish Jaiman (CELA)</DisplayName>
        <AccountId>4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50169FA4166FC4096141FBCEDEF8635" ma:contentTypeVersion="6" ma:contentTypeDescription="Create a new document." ma:contentTypeScope="" ma:versionID="5baf98b5a2a725593b546a9c47f16350">
  <xsd:schema xmlns:xsd="http://www.w3.org/2001/XMLSchema" xmlns:xs="http://www.w3.org/2001/XMLSchema" xmlns:p="http://schemas.microsoft.com/office/2006/metadata/properties" xmlns:ns2="c754ee8a-092a-4188-95ac-cdb2d958c134" xmlns:ns3="9dc31534-7109-48dc-8c39-3a5e87db2606" targetNamespace="http://schemas.microsoft.com/office/2006/metadata/properties" ma:root="true" ma:fieldsID="032714f81ed415fe3a1020d4de48dc70" ns2:_="" ns3:_="">
    <xsd:import namespace="c754ee8a-092a-4188-95ac-cdb2d958c134"/>
    <xsd:import namespace="9dc31534-7109-48dc-8c39-3a5e87db260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54ee8a-092a-4188-95ac-cdb2d958c1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dc31534-7109-48dc-8c39-3a5e87db260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524A0B-50F3-41E9-8FF5-E0EC39505745}">
  <ds:schemaRefs>
    <ds:schemaRef ds:uri="http://purl.org/dc/elements/1.1/"/>
    <ds:schemaRef ds:uri="c754ee8a-092a-4188-95ac-cdb2d958c134"/>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9dc31534-7109-48dc-8c39-3a5e87db2606"/>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861D34FA-92B1-4FEF-8797-D3F4F7693F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54ee8a-092a-4188-95ac-cdb2d958c134"/>
    <ds:schemaRef ds:uri="9dc31534-7109-48dc-8c39-3a5e87db26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8E2725-BF21-42C1-A6DF-8466E793612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C2PA_Template</Template>
  <TotalTime>1264</TotalTime>
  <Words>355</Words>
  <Application>Microsoft Office PowerPoint</Application>
  <PresentationFormat>Widescreen</PresentationFormat>
  <Paragraphs>70</Paragraphs>
  <Slides>15</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Courier New</vt:lpstr>
      <vt:lpstr>Trebuchet MS</vt:lpstr>
      <vt:lpstr>Office Theme</vt:lpstr>
      <vt:lpstr>think-cell Slide</vt:lpstr>
      <vt:lpstr>Coalition for Content Provenance and Authenticity (C2PA)</vt:lpstr>
      <vt:lpstr>Agenda</vt:lpstr>
      <vt:lpstr>Who we are</vt:lpstr>
      <vt:lpstr>PowerPoint Presentation</vt:lpstr>
      <vt:lpstr>PowerPoint Presentation</vt:lpstr>
      <vt:lpstr>What we do</vt:lpstr>
      <vt:lpstr>C2PA Key Activities</vt:lpstr>
      <vt:lpstr>Where we fit</vt:lpstr>
      <vt:lpstr>Complementary Efforts</vt:lpstr>
      <vt:lpstr>Working Together</vt:lpstr>
      <vt:lpstr>How to join</vt:lpstr>
      <vt:lpstr>Apply Now!</vt:lpstr>
      <vt:lpstr>Membership Level Rights</vt:lpstr>
      <vt:lpstr>Resources</vt:lpstr>
      <vt:lpstr>www.c2pa.or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arah McGee</dc:creator>
  <cp:lastModifiedBy>Andrew Jenks</cp:lastModifiedBy>
  <cp:revision>10</cp:revision>
  <dcterms:created xsi:type="dcterms:W3CDTF">2021-02-23T22:08:15Z</dcterms:created>
  <dcterms:modified xsi:type="dcterms:W3CDTF">2021-03-03T19:2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63aae98-72c2-4d8a-bcb0-c0aa81d8aedc_Enabled">
    <vt:lpwstr>true</vt:lpwstr>
  </property>
  <property fmtid="{D5CDD505-2E9C-101B-9397-08002B2CF9AE}" pid="3" name="MSIP_Label_863aae98-72c2-4d8a-bcb0-c0aa81d8aedc_SetDate">
    <vt:lpwstr>2021-02-19T14:44:54Z</vt:lpwstr>
  </property>
  <property fmtid="{D5CDD505-2E9C-101B-9397-08002B2CF9AE}" pid="4" name="MSIP_Label_863aae98-72c2-4d8a-bcb0-c0aa81d8aedc_Method">
    <vt:lpwstr>Standard</vt:lpwstr>
  </property>
  <property fmtid="{D5CDD505-2E9C-101B-9397-08002B2CF9AE}" pid="5" name="MSIP_Label_863aae98-72c2-4d8a-bcb0-c0aa81d8aedc_Name">
    <vt:lpwstr>General</vt:lpwstr>
  </property>
  <property fmtid="{D5CDD505-2E9C-101B-9397-08002B2CF9AE}" pid="6" name="MSIP_Label_863aae98-72c2-4d8a-bcb0-c0aa81d8aedc_SiteId">
    <vt:lpwstr>a5a9530b-9623-4712-8f71-f7cb8dfe5b51</vt:lpwstr>
  </property>
  <property fmtid="{D5CDD505-2E9C-101B-9397-08002B2CF9AE}" pid="7" name="MSIP_Label_863aae98-72c2-4d8a-bcb0-c0aa81d8aedc_ActionId">
    <vt:lpwstr>1a27f3a5-fbf5-4e17-a9ae-16fa9b3dc6de</vt:lpwstr>
  </property>
  <property fmtid="{D5CDD505-2E9C-101B-9397-08002B2CF9AE}" pid="8" name="MSIP_Label_863aae98-72c2-4d8a-bcb0-c0aa81d8aedc_ContentBits">
    <vt:lpwstr>0</vt:lpwstr>
  </property>
  <property fmtid="{D5CDD505-2E9C-101B-9397-08002B2CF9AE}" pid="9" name="ContentTypeId">
    <vt:lpwstr>0x010100650169FA4166FC4096141FBCEDEF8635</vt:lpwstr>
  </property>
</Properties>
</file>